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4" r:id="rId4"/>
    <p:sldMasterId id="2147483693" r:id="rId5"/>
    <p:sldMasterId id="2147483705" r:id="rId6"/>
    <p:sldMasterId id="2147483707" r:id="rId7"/>
  </p:sldMasterIdLst>
  <p:notesMasterIdLst>
    <p:notesMasterId r:id="rId21"/>
  </p:notesMasterIdLst>
  <p:handoutMasterIdLst>
    <p:handoutMasterId r:id="rId22"/>
  </p:handoutMasterIdLst>
  <p:sldIdLst>
    <p:sldId id="648" r:id="rId8"/>
    <p:sldId id="2236" r:id="rId9"/>
    <p:sldId id="2145709223" r:id="rId10"/>
    <p:sldId id="2145709228" r:id="rId11"/>
    <p:sldId id="2145709224" r:id="rId12"/>
    <p:sldId id="2145709221" r:id="rId13"/>
    <p:sldId id="2145709225" r:id="rId14"/>
    <p:sldId id="2145709229" r:id="rId15"/>
    <p:sldId id="2145709222" r:id="rId16"/>
    <p:sldId id="2145709226" r:id="rId17"/>
    <p:sldId id="2145709227" r:id="rId18"/>
    <p:sldId id="2145709230" r:id="rId19"/>
    <p:sldId id="2250" r:id="rId20"/>
  </p:sldIdLst>
  <p:sldSz cx="13447713" cy="7564438"/>
  <p:notesSz cx="7099300" cy="10234613"/>
  <p:custDataLst>
    <p:tags r:id="rId23"/>
  </p:custDataLst>
  <p:defaultTextStyle>
    <a:defPPr>
      <a:defRPr lang="de-DE"/>
    </a:defPPr>
    <a:lvl1pPr marL="0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263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526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3791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055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319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7580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8845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111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8000" userDrawn="1">
          <p15:clr>
            <a:srgbClr val="A4A3A4"/>
          </p15:clr>
        </p15:guide>
        <p15:guide id="4" pos="380" userDrawn="1">
          <p15:clr>
            <a:srgbClr val="A4A3A4"/>
          </p15:clr>
        </p15:guide>
        <p15:guide id="5" orient="horz" pos="4310" userDrawn="1">
          <p15:clr>
            <a:srgbClr val="A4A3A4"/>
          </p15:clr>
        </p15:guide>
        <p15:guide id="6" orient="horz" pos="1294" userDrawn="1">
          <p15:clr>
            <a:srgbClr val="A4A3A4"/>
          </p15:clr>
        </p15:guide>
        <p15:guide id="7" orient="horz" pos="25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ina Haarkötter" initials="NH" lastIdx="2" clrIdx="0"/>
  <p:cmAuthor id="1" name="Johannes Geise" initials="" lastIdx="7" clrIdx="1"/>
  <p:cmAuthor id="2" name="Johannes Paschmanns" initials="JP" lastIdx="13" clrIdx="2"/>
  <p:cmAuthor id="3" name="celine choukair" initials="cc" lastIdx="12" clrIdx="3">
    <p:extLst>
      <p:ext uri="{19B8F6BF-5375-455C-9EA6-DF929625EA0E}">
        <p15:presenceInfo xmlns:p15="http://schemas.microsoft.com/office/powerpoint/2012/main" userId="S::celine.choukair@bwedu.de::e9b5a5e0-6949-4389-9300-529c3555db44" providerId="AD"/>
      </p:ext>
    </p:extLst>
  </p:cmAuthor>
  <p:cmAuthor id="4" name="Dani Mann" initials="DM" lastIdx="5" clrIdx="4">
    <p:extLst>
      <p:ext uri="{19B8F6BF-5375-455C-9EA6-DF929625EA0E}">
        <p15:presenceInfo xmlns:p15="http://schemas.microsoft.com/office/powerpoint/2012/main" userId="64570fa7080d1c4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92D050"/>
    <a:srgbClr val="F68A97"/>
    <a:srgbClr val="FBC6CC"/>
    <a:srgbClr val="B0B6C5"/>
    <a:srgbClr val="DFE2E8"/>
    <a:srgbClr val="FAE5E2"/>
    <a:srgbClr val="E30B25"/>
    <a:srgbClr val="C00000"/>
    <a:srgbClr val="D30A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16CED3-54ED-47E4-A83E-DBC375936561}" v="1942" dt="2022-05-30T12:29:26.477"/>
    <p1510:client id="{93BB72A7-9ABF-4FBD-98E5-5D4B85C05F25}" v="6" dt="2022-05-30T12:55:03.2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8000"/>
        <p:guide pos="380"/>
        <p:guide orient="horz" pos="4310"/>
        <p:guide orient="horz" pos="1294"/>
        <p:guide orient="horz" pos="2519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el Ashdjian" userId="S::cashdjia@students365.uni-mannheim.de::015011ea-3d08-468d-8837-6ae2630f64d1" providerId="AD" clId="Web-{962A8255-1F6F-483C-B8A1-3EF803480FE5}"/>
    <pc:docChg chg="modSld">
      <pc:chgData name="Christel Ashdjian" userId="S::cashdjia@students365.uni-mannheim.de::015011ea-3d08-468d-8837-6ae2630f64d1" providerId="AD" clId="Web-{962A8255-1F6F-483C-B8A1-3EF803480FE5}" dt="2022-05-19T22:44:39.216" v="0" actId="1076"/>
      <pc:docMkLst>
        <pc:docMk/>
      </pc:docMkLst>
      <pc:sldChg chg="modSp">
        <pc:chgData name="Christel Ashdjian" userId="S::cashdjia@students365.uni-mannheim.de::015011ea-3d08-468d-8837-6ae2630f64d1" providerId="AD" clId="Web-{962A8255-1F6F-483C-B8A1-3EF803480FE5}" dt="2022-05-19T22:44:39.216" v="0" actId="1076"/>
        <pc:sldMkLst>
          <pc:docMk/>
          <pc:sldMk cId="3000357544" sldId="2145709192"/>
        </pc:sldMkLst>
        <pc:grpChg chg="mod">
          <ac:chgData name="Christel Ashdjian" userId="S::cashdjia@students365.uni-mannheim.de::015011ea-3d08-468d-8837-6ae2630f64d1" providerId="AD" clId="Web-{962A8255-1F6F-483C-B8A1-3EF803480FE5}" dt="2022-05-19T22:44:39.216" v="0" actId="1076"/>
          <ac:grpSpMkLst>
            <pc:docMk/>
            <pc:sldMk cId="3000357544" sldId="2145709192"/>
            <ac:grpSpMk id="48" creationId="{47248755-566C-0936-B38C-F2D400E78831}"/>
          </ac:grpSpMkLst>
        </pc:grpChg>
      </pc:sldChg>
    </pc:docChg>
  </pc:docChgLst>
  <pc:docChgLst>
    <pc:chgData name="Kathrin Lara Schmidt" userId="cc86c408-88c1-4a0c-884d-b0583cf7cce4" providerId="ADAL" clId="{3616CED3-54ED-47E4-A83E-DBC375936561}"/>
    <pc:docChg chg="undo redo custSel addSld modSld">
      <pc:chgData name="Kathrin Lara Schmidt" userId="cc86c408-88c1-4a0c-884d-b0583cf7cce4" providerId="ADAL" clId="{3616CED3-54ED-47E4-A83E-DBC375936561}" dt="2022-05-30T12:29:26.477" v="5107" actId="1076"/>
      <pc:docMkLst>
        <pc:docMk/>
      </pc:docMkLst>
      <pc:sldChg chg="modTransition">
        <pc:chgData name="Kathrin Lara Schmidt" userId="cc86c408-88c1-4a0c-884d-b0583cf7cce4" providerId="ADAL" clId="{3616CED3-54ED-47E4-A83E-DBC375936561}" dt="2022-05-29T22:10:05.871" v="3648"/>
        <pc:sldMkLst>
          <pc:docMk/>
          <pc:sldMk cId="1279744688" sldId="648"/>
        </pc:sldMkLst>
      </pc:sldChg>
      <pc:sldChg chg="addSp modSp mod">
        <pc:chgData name="Kathrin Lara Schmidt" userId="cc86c408-88c1-4a0c-884d-b0583cf7cce4" providerId="ADAL" clId="{3616CED3-54ED-47E4-A83E-DBC375936561}" dt="2022-05-30T12:16:49.926" v="4762" actId="207"/>
        <pc:sldMkLst>
          <pc:docMk/>
          <pc:sldMk cId="2957992008" sldId="2145709223"/>
        </pc:sldMkLst>
        <pc:spChg chg="mod">
          <ac:chgData name="Kathrin Lara Schmidt" userId="cc86c408-88c1-4a0c-884d-b0583cf7cce4" providerId="ADAL" clId="{3616CED3-54ED-47E4-A83E-DBC375936561}" dt="2022-05-30T12:04:33.959" v="4569" actId="14100"/>
          <ac:spMkLst>
            <pc:docMk/>
            <pc:sldMk cId="2957992008" sldId="2145709223"/>
            <ac:spMk id="11" creationId="{7123C3A6-B64F-D82A-920E-6321F4F4C655}"/>
          </ac:spMkLst>
        </pc:spChg>
        <pc:spChg chg="mod">
          <ac:chgData name="Kathrin Lara Schmidt" userId="cc86c408-88c1-4a0c-884d-b0583cf7cce4" providerId="ADAL" clId="{3616CED3-54ED-47E4-A83E-DBC375936561}" dt="2022-05-30T12:16:49.926" v="4762" actId="207"/>
          <ac:spMkLst>
            <pc:docMk/>
            <pc:sldMk cId="2957992008" sldId="2145709223"/>
            <ac:spMk id="15" creationId="{485BAD6B-96E4-F918-8EB3-822F4D60D97E}"/>
          </ac:spMkLst>
        </pc:spChg>
        <pc:spChg chg="mod">
          <ac:chgData name="Kathrin Lara Schmidt" userId="cc86c408-88c1-4a0c-884d-b0583cf7cce4" providerId="ADAL" clId="{3616CED3-54ED-47E4-A83E-DBC375936561}" dt="2022-05-30T12:09:28.955" v="4736" actId="207"/>
          <ac:spMkLst>
            <pc:docMk/>
            <pc:sldMk cId="2957992008" sldId="2145709223"/>
            <ac:spMk id="21" creationId="{9644143C-C819-9961-71AD-4CAA7C036219}"/>
          </ac:spMkLst>
        </pc:spChg>
        <pc:spChg chg="add mod">
          <ac:chgData name="Kathrin Lara Schmidt" userId="cc86c408-88c1-4a0c-884d-b0583cf7cce4" providerId="ADAL" clId="{3616CED3-54ED-47E4-A83E-DBC375936561}" dt="2022-05-30T12:05:58.931" v="4664" actId="1076"/>
          <ac:spMkLst>
            <pc:docMk/>
            <pc:sldMk cId="2957992008" sldId="2145709223"/>
            <ac:spMk id="22" creationId="{2BE63ED3-3AF5-9B49-83FF-BF753DA9A190}"/>
          </ac:spMkLst>
        </pc:spChg>
        <pc:grpChg chg="mod">
          <ac:chgData name="Kathrin Lara Schmidt" userId="cc86c408-88c1-4a0c-884d-b0583cf7cce4" providerId="ADAL" clId="{3616CED3-54ED-47E4-A83E-DBC375936561}" dt="2022-05-30T12:04:25.384" v="4567" actId="1038"/>
          <ac:grpSpMkLst>
            <pc:docMk/>
            <pc:sldMk cId="2957992008" sldId="2145709223"/>
            <ac:grpSpMk id="8" creationId="{00FB6F49-AFC1-86E6-4870-1604B3A2AEC3}"/>
          </ac:grpSpMkLst>
        </pc:grpChg>
        <pc:grpChg chg="mod">
          <ac:chgData name="Kathrin Lara Schmidt" userId="cc86c408-88c1-4a0c-884d-b0583cf7cce4" providerId="ADAL" clId="{3616CED3-54ED-47E4-A83E-DBC375936561}" dt="2022-05-30T12:05:23.287" v="4632" actId="1037"/>
          <ac:grpSpMkLst>
            <pc:docMk/>
            <pc:sldMk cId="2957992008" sldId="2145709223"/>
            <ac:grpSpMk id="12" creationId="{0FD54943-5E05-C98C-89BD-C66F48B67F91}"/>
          </ac:grpSpMkLst>
        </pc:grpChg>
        <pc:grpChg chg="mod">
          <ac:chgData name="Kathrin Lara Schmidt" userId="cc86c408-88c1-4a0c-884d-b0583cf7cce4" providerId="ADAL" clId="{3616CED3-54ED-47E4-A83E-DBC375936561}" dt="2022-05-30T12:05:34.047" v="4650" actId="1038"/>
          <ac:grpSpMkLst>
            <pc:docMk/>
            <pc:sldMk cId="2957992008" sldId="2145709223"/>
            <ac:grpSpMk id="16" creationId="{9D754FE6-8B1A-F0B9-AA21-819F73316D88}"/>
          </ac:grpSpMkLst>
        </pc:grpChg>
        <pc:picChg chg="add mod">
          <ac:chgData name="Kathrin Lara Schmidt" userId="cc86c408-88c1-4a0c-884d-b0583cf7cce4" providerId="ADAL" clId="{3616CED3-54ED-47E4-A83E-DBC375936561}" dt="2022-05-30T12:05:38.342" v="4661" actId="1038"/>
          <ac:picMkLst>
            <pc:docMk/>
            <pc:sldMk cId="2957992008" sldId="2145709223"/>
            <ac:picMk id="4" creationId="{F1AEA175-070B-CB6A-20C0-215EA8296A0D}"/>
          </ac:picMkLst>
        </pc:picChg>
        <pc:picChg chg="add mod">
          <ac:chgData name="Kathrin Lara Schmidt" userId="cc86c408-88c1-4a0c-884d-b0583cf7cce4" providerId="ADAL" clId="{3616CED3-54ED-47E4-A83E-DBC375936561}" dt="2022-05-30T12:05:27.161" v="4642" actId="1037"/>
          <ac:picMkLst>
            <pc:docMk/>
            <pc:sldMk cId="2957992008" sldId="2145709223"/>
            <ac:picMk id="6" creationId="{47809D53-C748-26BE-85DF-C6F73D6CF328}"/>
          </ac:picMkLst>
        </pc:picChg>
      </pc:sldChg>
      <pc:sldChg chg="addSp delSp modSp mod">
        <pc:chgData name="Kathrin Lara Schmidt" userId="cc86c408-88c1-4a0c-884d-b0583cf7cce4" providerId="ADAL" clId="{3616CED3-54ED-47E4-A83E-DBC375936561}" dt="2022-05-30T12:07:37.217" v="4682" actId="113"/>
        <pc:sldMkLst>
          <pc:docMk/>
          <pc:sldMk cId="3737056458" sldId="2145709224"/>
        </pc:sldMkLst>
        <pc:spChg chg="add mod">
          <ac:chgData name="Kathrin Lara Schmidt" userId="cc86c408-88c1-4a0c-884d-b0583cf7cce4" providerId="ADAL" clId="{3616CED3-54ED-47E4-A83E-DBC375936561}" dt="2022-05-29T21:43:22.346" v="3137" actId="1038"/>
          <ac:spMkLst>
            <pc:docMk/>
            <pc:sldMk cId="3737056458" sldId="2145709224"/>
            <ac:spMk id="14" creationId="{36EC8649-4F47-F453-AEB7-0E2AD6BD0F1A}"/>
          </ac:spMkLst>
        </pc:spChg>
        <pc:spChg chg="add mod">
          <ac:chgData name="Kathrin Lara Schmidt" userId="cc86c408-88c1-4a0c-884d-b0583cf7cce4" providerId="ADAL" clId="{3616CED3-54ED-47E4-A83E-DBC375936561}" dt="2022-05-29T21:43:22.346" v="3137" actId="1038"/>
          <ac:spMkLst>
            <pc:docMk/>
            <pc:sldMk cId="3737056458" sldId="2145709224"/>
            <ac:spMk id="15" creationId="{C930F903-B9FB-7BED-163F-713B3AA7405E}"/>
          </ac:spMkLst>
        </pc:spChg>
        <pc:spChg chg="add mod">
          <ac:chgData name="Kathrin Lara Schmidt" userId="cc86c408-88c1-4a0c-884d-b0583cf7cce4" providerId="ADAL" clId="{3616CED3-54ED-47E4-A83E-DBC375936561}" dt="2022-05-29T21:43:22.346" v="3137" actId="1038"/>
          <ac:spMkLst>
            <pc:docMk/>
            <pc:sldMk cId="3737056458" sldId="2145709224"/>
            <ac:spMk id="16" creationId="{D504236A-4462-555B-892D-05695754252D}"/>
          </ac:spMkLst>
        </pc:spChg>
        <pc:spChg chg="add mod">
          <ac:chgData name="Kathrin Lara Schmidt" userId="cc86c408-88c1-4a0c-884d-b0583cf7cce4" providerId="ADAL" clId="{3616CED3-54ED-47E4-A83E-DBC375936561}" dt="2022-05-29T21:44:20" v="3144" actId="14100"/>
          <ac:spMkLst>
            <pc:docMk/>
            <pc:sldMk cId="3737056458" sldId="2145709224"/>
            <ac:spMk id="18" creationId="{40AA71DB-9786-DA02-53A5-645B2A147E11}"/>
          </ac:spMkLst>
        </pc:spChg>
        <pc:spChg chg="add mod">
          <ac:chgData name="Kathrin Lara Schmidt" userId="cc86c408-88c1-4a0c-884d-b0583cf7cce4" providerId="ADAL" clId="{3616CED3-54ED-47E4-A83E-DBC375936561}" dt="2022-05-30T12:07:37.217" v="4682" actId="113"/>
          <ac:spMkLst>
            <pc:docMk/>
            <pc:sldMk cId="3737056458" sldId="2145709224"/>
            <ac:spMk id="20" creationId="{C880C961-84E9-77D4-1201-5C2B17751CCF}"/>
          </ac:spMkLst>
        </pc:spChg>
        <pc:graphicFrameChg chg="add mod modGraphic">
          <ac:chgData name="Kathrin Lara Schmidt" userId="cc86c408-88c1-4a0c-884d-b0583cf7cce4" providerId="ADAL" clId="{3616CED3-54ED-47E4-A83E-DBC375936561}" dt="2022-05-29T21:43:13.958" v="3131" actId="1037"/>
          <ac:graphicFrameMkLst>
            <pc:docMk/>
            <pc:sldMk cId="3737056458" sldId="2145709224"/>
            <ac:graphicFrameMk id="11" creationId="{CB62AD43-4F87-EAC8-018F-D51EEE045AC7}"/>
          </ac:graphicFrameMkLst>
        </pc:graphicFrameChg>
        <pc:graphicFrameChg chg="add del mod">
          <ac:chgData name="Kathrin Lara Schmidt" userId="cc86c408-88c1-4a0c-884d-b0583cf7cce4" providerId="ADAL" clId="{3616CED3-54ED-47E4-A83E-DBC375936561}" dt="2022-05-29T21:24:45.162" v="2381"/>
          <ac:graphicFrameMkLst>
            <pc:docMk/>
            <pc:sldMk cId="3737056458" sldId="2145709224"/>
            <ac:graphicFrameMk id="12" creationId="{3C7E4093-4AB3-45FA-3FBC-93BB8F8E86C3}"/>
          </ac:graphicFrameMkLst>
        </pc:graphicFrameChg>
        <pc:graphicFrameChg chg="add mod modGraphic">
          <ac:chgData name="Kathrin Lara Schmidt" userId="cc86c408-88c1-4a0c-884d-b0583cf7cce4" providerId="ADAL" clId="{3616CED3-54ED-47E4-A83E-DBC375936561}" dt="2022-05-29T21:43:13.958" v="3131" actId="1037"/>
          <ac:graphicFrameMkLst>
            <pc:docMk/>
            <pc:sldMk cId="3737056458" sldId="2145709224"/>
            <ac:graphicFrameMk id="13" creationId="{55DB5FC7-C35B-B96D-590D-723ED5D9AA98}"/>
          </ac:graphicFrameMkLst>
        </pc:graphicFrameChg>
        <pc:picChg chg="add del mod">
          <ac:chgData name="Kathrin Lara Schmidt" userId="cc86c408-88c1-4a0c-884d-b0583cf7cce4" providerId="ADAL" clId="{3616CED3-54ED-47E4-A83E-DBC375936561}" dt="2022-05-29T21:24:39.805" v="2379" actId="478"/>
          <ac:picMkLst>
            <pc:docMk/>
            <pc:sldMk cId="3737056458" sldId="2145709224"/>
            <ac:picMk id="4" creationId="{2C7F9A83-6C47-090A-31E4-48CA0273A285}"/>
          </ac:picMkLst>
        </pc:picChg>
        <pc:picChg chg="add del mod">
          <ac:chgData name="Kathrin Lara Schmidt" userId="cc86c408-88c1-4a0c-884d-b0583cf7cce4" providerId="ADAL" clId="{3616CED3-54ED-47E4-A83E-DBC375936561}" dt="2022-05-29T21:31:33.293" v="2757" actId="478"/>
          <ac:picMkLst>
            <pc:docMk/>
            <pc:sldMk cId="3737056458" sldId="2145709224"/>
            <ac:picMk id="6" creationId="{9185F665-212C-AFAE-BB74-9B8F4099E689}"/>
          </ac:picMkLst>
        </pc:picChg>
      </pc:sldChg>
      <pc:sldChg chg="addSp delSp modSp mod">
        <pc:chgData name="Kathrin Lara Schmidt" userId="cc86c408-88c1-4a0c-884d-b0583cf7cce4" providerId="ADAL" clId="{3616CED3-54ED-47E4-A83E-DBC375936561}" dt="2022-05-29T22:11:29.367" v="3652" actId="20577"/>
        <pc:sldMkLst>
          <pc:docMk/>
          <pc:sldMk cId="2277887798" sldId="2145709225"/>
        </pc:sldMkLst>
        <pc:spChg chg="mod">
          <ac:chgData name="Kathrin Lara Schmidt" userId="cc86c408-88c1-4a0c-884d-b0583cf7cce4" providerId="ADAL" clId="{3616CED3-54ED-47E4-A83E-DBC375936561}" dt="2022-05-29T16:37:01.638" v="307" actId="207"/>
          <ac:spMkLst>
            <pc:docMk/>
            <pc:sldMk cId="2277887798" sldId="2145709225"/>
            <ac:spMk id="7" creationId="{4178376A-B647-A5C5-9343-1F3F7CFF6587}"/>
          </ac:spMkLst>
        </pc:spChg>
        <pc:spChg chg="mod">
          <ac:chgData name="Kathrin Lara Schmidt" userId="cc86c408-88c1-4a0c-884d-b0583cf7cce4" providerId="ADAL" clId="{3616CED3-54ED-47E4-A83E-DBC375936561}" dt="2022-05-29T17:04:05.131" v="501" actId="1035"/>
          <ac:spMkLst>
            <pc:docMk/>
            <pc:sldMk cId="2277887798" sldId="2145709225"/>
            <ac:spMk id="8" creationId="{00551520-BE72-DA2E-4418-8BEA69846AAC}"/>
          </ac:spMkLst>
        </pc:spChg>
        <pc:spChg chg="mod">
          <ac:chgData name="Kathrin Lara Schmidt" userId="cc86c408-88c1-4a0c-884d-b0583cf7cce4" providerId="ADAL" clId="{3616CED3-54ED-47E4-A83E-DBC375936561}" dt="2022-05-29T17:04:05.131" v="501" actId="1035"/>
          <ac:spMkLst>
            <pc:docMk/>
            <pc:sldMk cId="2277887798" sldId="2145709225"/>
            <ac:spMk id="9" creationId="{32E119C9-5B05-5301-88E8-55774C4A1764}"/>
          </ac:spMkLst>
        </pc:spChg>
        <pc:spChg chg="mod">
          <ac:chgData name="Kathrin Lara Schmidt" userId="cc86c408-88c1-4a0c-884d-b0583cf7cce4" providerId="ADAL" clId="{3616CED3-54ED-47E4-A83E-DBC375936561}" dt="2022-05-29T17:04:05.131" v="501" actId="1035"/>
          <ac:spMkLst>
            <pc:docMk/>
            <pc:sldMk cId="2277887798" sldId="2145709225"/>
            <ac:spMk id="10" creationId="{A42B6033-3B8E-D8A5-B196-E5A85D2F73F1}"/>
          </ac:spMkLst>
        </pc:spChg>
        <pc:spChg chg="mod">
          <ac:chgData name="Kathrin Lara Schmidt" userId="cc86c408-88c1-4a0c-884d-b0583cf7cce4" providerId="ADAL" clId="{3616CED3-54ED-47E4-A83E-DBC375936561}" dt="2022-05-29T16:37:01.638" v="307" actId="207"/>
          <ac:spMkLst>
            <pc:docMk/>
            <pc:sldMk cId="2277887798" sldId="2145709225"/>
            <ac:spMk id="11" creationId="{DFAC2FDD-EE25-11E3-CB76-F4D29CAD8528}"/>
          </ac:spMkLst>
        </pc:spChg>
        <pc:spChg chg="mod">
          <ac:chgData name="Kathrin Lara Schmidt" userId="cc86c408-88c1-4a0c-884d-b0583cf7cce4" providerId="ADAL" clId="{3616CED3-54ED-47E4-A83E-DBC375936561}" dt="2022-05-29T16:37:01.638" v="307" actId="207"/>
          <ac:spMkLst>
            <pc:docMk/>
            <pc:sldMk cId="2277887798" sldId="2145709225"/>
            <ac:spMk id="12" creationId="{D560EA2C-F808-285F-AE4F-3C20F7F6B353}"/>
          </ac:spMkLst>
        </pc:spChg>
        <pc:spChg chg="add mod">
          <ac:chgData name="Kathrin Lara Schmidt" userId="cc86c408-88c1-4a0c-884d-b0583cf7cce4" providerId="ADAL" clId="{3616CED3-54ED-47E4-A83E-DBC375936561}" dt="2022-05-29T22:11:26.962" v="3650" actId="20577"/>
          <ac:spMkLst>
            <pc:docMk/>
            <pc:sldMk cId="2277887798" sldId="2145709225"/>
            <ac:spMk id="13" creationId="{370E7093-E208-C8B5-89D1-96804DAF0DD7}"/>
          </ac:spMkLst>
        </pc:spChg>
        <pc:spChg chg="add del mod">
          <ac:chgData name="Kathrin Lara Schmidt" userId="cc86c408-88c1-4a0c-884d-b0583cf7cce4" providerId="ADAL" clId="{3616CED3-54ED-47E4-A83E-DBC375936561}" dt="2022-05-29T16:31:49.855" v="127" actId="478"/>
          <ac:spMkLst>
            <pc:docMk/>
            <pc:sldMk cId="2277887798" sldId="2145709225"/>
            <ac:spMk id="14" creationId="{0D1CB79D-8E8D-CE58-9A4F-2A0B1763D44E}"/>
          </ac:spMkLst>
        </pc:spChg>
        <pc:spChg chg="add mod">
          <ac:chgData name="Kathrin Lara Schmidt" userId="cc86c408-88c1-4a0c-884d-b0583cf7cce4" providerId="ADAL" clId="{3616CED3-54ED-47E4-A83E-DBC375936561}" dt="2022-05-29T16:49:31.017" v="410" actId="1036"/>
          <ac:spMkLst>
            <pc:docMk/>
            <pc:sldMk cId="2277887798" sldId="2145709225"/>
            <ac:spMk id="15" creationId="{F4B51724-426E-9E7F-A5C1-8BD42BDC7E4D}"/>
          </ac:spMkLst>
        </pc:spChg>
        <pc:spChg chg="add mod">
          <ac:chgData name="Kathrin Lara Schmidt" userId="cc86c408-88c1-4a0c-884d-b0583cf7cce4" providerId="ADAL" clId="{3616CED3-54ED-47E4-A83E-DBC375936561}" dt="2022-05-29T22:11:29.367" v="3652" actId="20577"/>
          <ac:spMkLst>
            <pc:docMk/>
            <pc:sldMk cId="2277887798" sldId="2145709225"/>
            <ac:spMk id="16" creationId="{481C2D7A-7C7C-0931-3179-CC8AA4F83891}"/>
          </ac:spMkLst>
        </pc:spChg>
        <pc:spChg chg="add mod">
          <ac:chgData name="Kathrin Lara Schmidt" userId="cc86c408-88c1-4a0c-884d-b0583cf7cce4" providerId="ADAL" clId="{3616CED3-54ED-47E4-A83E-DBC375936561}" dt="2022-05-29T17:04:05.131" v="501" actId="1035"/>
          <ac:spMkLst>
            <pc:docMk/>
            <pc:sldMk cId="2277887798" sldId="2145709225"/>
            <ac:spMk id="18" creationId="{BDA1A099-B57F-A574-110B-7A1197FDD178}"/>
          </ac:spMkLst>
        </pc:spChg>
        <pc:spChg chg="add mod">
          <ac:chgData name="Kathrin Lara Schmidt" userId="cc86c408-88c1-4a0c-884d-b0583cf7cce4" providerId="ADAL" clId="{3616CED3-54ED-47E4-A83E-DBC375936561}" dt="2022-05-29T17:04:05.131" v="501" actId="1035"/>
          <ac:spMkLst>
            <pc:docMk/>
            <pc:sldMk cId="2277887798" sldId="2145709225"/>
            <ac:spMk id="20" creationId="{0E55EFFD-0E9C-B41C-E1BA-18E1CF2538A7}"/>
          </ac:spMkLst>
        </pc:spChg>
        <pc:spChg chg="add mod">
          <ac:chgData name="Kathrin Lara Schmidt" userId="cc86c408-88c1-4a0c-884d-b0583cf7cce4" providerId="ADAL" clId="{3616CED3-54ED-47E4-A83E-DBC375936561}" dt="2022-05-29T17:04:05.131" v="501" actId="1035"/>
          <ac:spMkLst>
            <pc:docMk/>
            <pc:sldMk cId="2277887798" sldId="2145709225"/>
            <ac:spMk id="21" creationId="{258C4E61-D2F1-EC2C-4961-0785C74D4B70}"/>
          </ac:spMkLst>
        </pc:spChg>
        <pc:spChg chg="add mod ord">
          <ac:chgData name="Kathrin Lara Schmidt" userId="cc86c408-88c1-4a0c-884d-b0583cf7cce4" providerId="ADAL" clId="{3616CED3-54ED-47E4-A83E-DBC375936561}" dt="2022-05-29T17:04:07.699" v="504" actId="14100"/>
          <ac:spMkLst>
            <pc:docMk/>
            <pc:sldMk cId="2277887798" sldId="2145709225"/>
            <ac:spMk id="22" creationId="{593286EF-67D2-5F6C-080C-8D4F1A4830FA}"/>
          </ac:spMkLst>
        </pc:spChg>
        <pc:spChg chg="add mod">
          <ac:chgData name="Kathrin Lara Schmidt" userId="cc86c408-88c1-4a0c-884d-b0583cf7cce4" providerId="ADAL" clId="{3616CED3-54ED-47E4-A83E-DBC375936561}" dt="2022-05-29T17:04:05.131" v="501" actId="1035"/>
          <ac:spMkLst>
            <pc:docMk/>
            <pc:sldMk cId="2277887798" sldId="2145709225"/>
            <ac:spMk id="23" creationId="{6EB5F4EA-E541-823D-DC3E-59884C1A9F7C}"/>
          </ac:spMkLst>
        </pc:spChg>
        <pc:spChg chg="add mod">
          <ac:chgData name="Kathrin Lara Schmidt" userId="cc86c408-88c1-4a0c-884d-b0583cf7cce4" providerId="ADAL" clId="{3616CED3-54ED-47E4-A83E-DBC375936561}" dt="2022-05-29T16:37:31.718" v="309" actId="1076"/>
          <ac:spMkLst>
            <pc:docMk/>
            <pc:sldMk cId="2277887798" sldId="2145709225"/>
            <ac:spMk id="24" creationId="{E8782AA5-C641-A1DE-3F77-A60DE81D1059}"/>
          </ac:spMkLst>
        </pc:spChg>
        <pc:spChg chg="add mod">
          <ac:chgData name="Kathrin Lara Schmidt" userId="cc86c408-88c1-4a0c-884d-b0583cf7cce4" providerId="ADAL" clId="{3616CED3-54ED-47E4-A83E-DBC375936561}" dt="2022-05-29T16:58:11.293" v="440" actId="1076"/>
          <ac:spMkLst>
            <pc:docMk/>
            <pc:sldMk cId="2277887798" sldId="2145709225"/>
            <ac:spMk id="25" creationId="{F775BB59-B348-8654-52C9-4788D45BE603}"/>
          </ac:spMkLst>
        </pc:spChg>
        <pc:spChg chg="add mod">
          <ac:chgData name="Kathrin Lara Schmidt" userId="cc86c408-88c1-4a0c-884d-b0583cf7cce4" providerId="ADAL" clId="{3616CED3-54ED-47E4-A83E-DBC375936561}" dt="2022-05-29T17:04:05.131" v="501" actId="1035"/>
          <ac:spMkLst>
            <pc:docMk/>
            <pc:sldMk cId="2277887798" sldId="2145709225"/>
            <ac:spMk id="26" creationId="{E7FD1BA9-AEF4-4939-F969-193A354404E1}"/>
          </ac:spMkLst>
        </pc:spChg>
        <pc:spChg chg="add del mod">
          <ac:chgData name="Kathrin Lara Schmidt" userId="cc86c408-88c1-4a0c-884d-b0583cf7cce4" providerId="ADAL" clId="{3616CED3-54ED-47E4-A83E-DBC375936561}" dt="2022-05-29T16:39:50.820" v="351" actId="478"/>
          <ac:spMkLst>
            <pc:docMk/>
            <pc:sldMk cId="2277887798" sldId="2145709225"/>
            <ac:spMk id="27" creationId="{872E92AB-BEDC-98D1-5743-02B992D940C6}"/>
          </ac:spMkLst>
        </pc:spChg>
        <pc:spChg chg="add mod">
          <ac:chgData name="Kathrin Lara Schmidt" userId="cc86c408-88c1-4a0c-884d-b0583cf7cce4" providerId="ADAL" clId="{3616CED3-54ED-47E4-A83E-DBC375936561}" dt="2022-05-29T17:04:06.212" v="503" actId="688"/>
          <ac:spMkLst>
            <pc:docMk/>
            <pc:sldMk cId="2277887798" sldId="2145709225"/>
            <ac:spMk id="46" creationId="{10DEFD2C-9312-40A7-6A94-EA7AF0275855}"/>
          </ac:spMkLst>
        </pc:spChg>
        <pc:picChg chg="add mod modCrop">
          <ac:chgData name="Kathrin Lara Schmidt" userId="cc86c408-88c1-4a0c-884d-b0583cf7cce4" providerId="ADAL" clId="{3616CED3-54ED-47E4-A83E-DBC375936561}" dt="2022-05-29T16:50:18.781" v="417" actId="1076"/>
          <ac:picMkLst>
            <pc:docMk/>
            <pc:sldMk cId="2277887798" sldId="2145709225"/>
            <ac:picMk id="4" creationId="{D09BC258-959B-3B83-3CE6-B842E86872F1}"/>
          </ac:picMkLst>
        </pc:picChg>
        <pc:picChg chg="add del mod">
          <ac:chgData name="Kathrin Lara Schmidt" userId="cc86c408-88c1-4a0c-884d-b0583cf7cce4" providerId="ADAL" clId="{3616CED3-54ED-47E4-A83E-DBC375936561}" dt="2022-05-29T16:46:35.265" v="358"/>
          <ac:picMkLst>
            <pc:docMk/>
            <pc:sldMk cId="2277887798" sldId="2145709225"/>
            <ac:picMk id="6" creationId="{D9575E6A-7A3F-DDF0-76BA-E168B08363E4}"/>
          </ac:picMkLst>
        </pc:picChg>
        <pc:picChg chg="add mod">
          <ac:chgData name="Kathrin Lara Schmidt" userId="cc86c408-88c1-4a0c-884d-b0583cf7cce4" providerId="ADAL" clId="{3616CED3-54ED-47E4-A83E-DBC375936561}" dt="2022-05-29T17:04:05.131" v="501" actId="1035"/>
          <ac:picMkLst>
            <pc:docMk/>
            <pc:sldMk cId="2277887798" sldId="2145709225"/>
            <ac:picMk id="31" creationId="{795A32B9-E7C5-B356-BEB1-6E33154C763A}"/>
          </ac:picMkLst>
        </pc:picChg>
        <pc:picChg chg="add del mod">
          <ac:chgData name="Kathrin Lara Schmidt" userId="cc86c408-88c1-4a0c-884d-b0583cf7cce4" providerId="ADAL" clId="{3616CED3-54ED-47E4-A83E-DBC375936561}" dt="2022-05-29T16:51:57.409" v="428" actId="478"/>
          <ac:picMkLst>
            <pc:docMk/>
            <pc:sldMk cId="2277887798" sldId="2145709225"/>
            <ac:picMk id="33" creationId="{372FC9E3-AA73-FB91-A454-4F2A1978421A}"/>
          </ac:picMkLst>
        </pc:picChg>
        <pc:picChg chg="add mod">
          <ac:chgData name="Kathrin Lara Schmidt" userId="cc86c408-88c1-4a0c-884d-b0583cf7cce4" providerId="ADAL" clId="{3616CED3-54ED-47E4-A83E-DBC375936561}" dt="2022-05-29T16:49:50.716" v="413" actId="1076"/>
          <ac:picMkLst>
            <pc:docMk/>
            <pc:sldMk cId="2277887798" sldId="2145709225"/>
            <ac:picMk id="35" creationId="{D03CA333-6277-6E37-BFAB-41CC72C6A491}"/>
          </ac:picMkLst>
        </pc:picChg>
        <pc:picChg chg="add mod">
          <ac:chgData name="Kathrin Lara Schmidt" userId="cc86c408-88c1-4a0c-884d-b0583cf7cce4" providerId="ADAL" clId="{3616CED3-54ED-47E4-A83E-DBC375936561}" dt="2022-05-29T16:51:54.737" v="427" actId="1076"/>
          <ac:picMkLst>
            <pc:docMk/>
            <pc:sldMk cId="2277887798" sldId="2145709225"/>
            <ac:picMk id="37" creationId="{27AAF478-F185-2555-30FD-E1E421F79597}"/>
          </ac:picMkLst>
        </pc:picChg>
        <pc:picChg chg="add mod">
          <ac:chgData name="Kathrin Lara Schmidt" userId="cc86c408-88c1-4a0c-884d-b0583cf7cce4" providerId="ADAL" clId="{3616CED3-54ED-47E4-A83E-DBC375936561}" dt="2022-05-29T17:04:05.131" v="501" actId="1035"/>
          <ac:picMkLst>
            <pc:docMk/>
            <pc:sldMk cId="2277887798" sldId="2145709225"/>
            <ac:picMk id="39" creationId="{90160E88-D1FD-8B45-EE8D-C907EA87D974}"/>
          </ac:picMkLst>
        </pc:picChg>
        <pc:picChg chg="add mod">
          <ac:chgData name="Kathrin Lara Schmidt" userId="cc86c408-88c1-4a0c-884d-b0583cf7cce4" providerId="ADAL" clId="{3616CED3-54ED-47E4-A83E-DBC375936561}" dt="2022-05-29T17:04:05.131" v="501" actId="1035"/>
          <ac:picMkLst>
            <pc:docMk/>
            <pc:sldMk cId="2277887798" sldId="2145709225"/>
            <ac:picMk id="41" creationId="{D555EB53-91E5-787A-7F63-931C5A5E13DB}"/>
          </ac:picMkLst>
        </pc:picChg>
        <pc:picChg chg="add mod">
          <ac:chgData name="Kathrin Lara Schmidt" userId="cc86c408-88c1-4a0c-884d-b0583cf7cce4" providerId="ADAL" clId="{3616CED3-54ED-47E4-A83E-DBC375936561}" dt="2022-05-29T16:58:19.225" v="441" actId="1076"/>
          <ac:picMkLst>
            <pc:docMk/>
            <pc:sldMk cId="2277887798" sldId="2145709225"/>
            <ac:picMk id="43" creationId="{88423374-C39C-3BBC-304F-F5E1D217C961}"/>
          </ac:picMkLst>
        </pc:picChg>
        <pc:picChg chg="add mod">
          <ac:chgData name="Kathrin Lara Schmidt" userId="cc86c408-88c1-4a0c-884d-b0583cf7cce4" providerId="ADAL" clId="{3616CED3-54ED-47E4-A83E-DBC375936561}" dt="2022-05-29T17:04:05.131" v="501" actId="1035"/>
          <ac:picMkLst>
            <pc:docMk/>
            <pc:sldMk cId="2277887798" sldId="2145709225"/>
            <ac:picMk id="45" creationId="{48B530C1-7999-1E5E-CB2F-566DDDAC9403}"/>
          </ac:picMkLst>
        </pc:picChg>
      </pc:sldChg>
      <pc:sldChg chg="addSp delSp modSp mod">
        <pc:chgData name="Kathrin Lara Schmidt" userId="cc86c408-88c1-4a0c-884d-b0583cf7cce4" providerId="ADAL" clId="{3616CED3-54ED-47E4-A83E-DBC375936561}" dt="2022-05-29T22:04:18.820" v="3633" actId="1035"/>
        <pc:sldMkLst>
          <pc:docMk/>
          <pc:sldMk cId="3221055980" sldId="2145709226"/>
        </pc:sldMkLst>
        <pc:spChg chg="add mod">
          <ac:chgData name="Kathrin Lara Schmidt" userId="cc86c408-88c1-4a0c-884d-b0583cf7cce4" providerId="ADAL" clId="{3616CED3-54ED-47E4-A83E-DBC375936561}" dt="2022-05-29T22:04:18.820" v="3633" actId="1035"/>
          <ac:spMkLst>
            <pc:docMk/>
            <pc:sldMk cId="3221055980" sldId="2145709226"/>
            <ac:spMk id="6" creationId="{3D309F8F-F253-0F23-7C76-1825FFD25C4F}"/>
          </ac:spMkLst>
        </pc:spChg>
        <pc:spChg chg="mod">
          <ac:chgData name="Kathrin Lara Schmidt" userId="cc86c408-88c1-4a0c-884d-b0583cf7cce4" providerId="ADAL" clId="{3616CED3-54ED-47E4-A83E-DBC375936561}" dt="2022-05-29T19:50:26.381" v="1083" actId="14100"/>
          <ac:spMkLst>
            <pc:docMk/>
            <pc:sldMk cId="3221055980" sldId="2145709226"/>
            <ac:spMk id="10" creationId="{AD5EEA47-193C-F89C-771D-4ECF2905AD76}"/>
          </ac:spMkLst>
        </pc:spChg>
        <pc:spChg chg="mod">
          <ac:chgData name="Kathrin Lara Schmidt" userId="cc86c408-88c1-4a0c-884d-b0583cf7cce4" providerId="ADAL" clId="{3616CED3-54ED-47E4-A83E-DBC375936561}" dt="2022-05-29T22:04:18.820" v="3633" actId="1035"/>
          <ac:spMkLst>
            <pc:docMk/>
            <pc:sldMk cId="3221055980" sldId="2145709226"/>
            <ac:spMk id="22" creationId="{710EE5F4-F5F8-EADF-229B-70E0EBF90592}"/>
          </ac:spMkLst>
        </pc:spChg>
        <pc:spChg chg="add del mod">
          <ac:chgData name="Kathrin Lara Schmidt" userId="cc86c408-88c1-4a0c-884d-b0583cf7cce4" providerId="ADAL" clId="{3616CED3-54ED-47E4-A83E-DBC375936561}" dt="2022-05-29T22:03:33.772" v="3620" actId="478"/>
          <ac:spMkLst>
            <pc:docMk/>
            <pc:sldMk cId="3221055980" sldId="2145709226"/>
            <ac:spMk id="29" creationId="{7E9197DB-C181-C408-BAC6-076D0F567919}"/>
          </ac:spMkLst>
        </pc:spChg>
        <pc:spChg chg="mod">
          <ac:chgData name="Kathrin Lara Schmidt" userId="cc86c408-88c1-4a0c-884d-b0583cf7cce4" providerId="ADAL" clId="{3616CED3-54ED-47E4-A83E-DBC375936561}" dt="2022-05-29T22:02:00.887" v="3582"/>
          <ac:spMkLst>
            <pc:docMk/>
            <pc:sldMk cId="3221055980" sldId="2145709226"/>
            <ac:spMk id="32" creationId="{389A206E-03FE-CB45-012A-68FCF3D1CA4A}"/>
          </ac:spMkLst>
        </pc:spChg>
        <pc:spChg chg="mod">
          <ac:chgData name="Kathrin Lara Schmidt" userId="cc86c408-88c1-4a0c-884d-b0583cf7cce4" providerId="ADAL" clId="{3616CED3-54ED-47E4-A83E-DBC375936561}" dt="2022-05-29T22:02:00.887" v="3582"/>
          <ac:spMkLst>
            <pc:docMk/>
            <pc:sldMk cId="3221055980" sldId="2145709226"/>
            <ac:spMk id="34" creationId="{3C4AB9BD-1A2C-846D-8FCA-BB30F850579C}"/>
          </ac:spMkLst>
        </pc:spChg>
        <pc:spChg chg="mod">
          <ac:chgData name="Kathrin Lara Schmidt" userId="cc86c408-88c1-4a0c-884d-b0583cf7cce4" providerId="ADAL" clId="{3616CED3-54ED-47E4-A83E-DBC375936561}" dt="2022-05-29T22:02:00.887" v="3582"/>
          <ac:spMkLst>
            <pc:docMk/>
            <pc:sldMk cId="3221055980" sldId="2145709226"/>
            <ac:spMk id="35" creationId="{F5BA548C-1A02-2DA0-7F31-EBCFC0CDCDC9}"/>
          </ac:spMkLst>
        </pc:spChg>
        <pc:spChg chg="add mod">
          <ac:chgData name="Kathrin Lara Schmidt" userId="cc86c408-88c1-4a0c-884d-b0583cf7cce4" providerId="ADAL" clId="{3616CED3-54ED-47E4-A83E-DBC375936561}" dt="2022-05-29T22:03:42.768" v="3622" actId="1076"/>
          <ac:spMkLst>
            <pc:docMk/>
            <pc:sldMk cId="3221055980" sldId="2145709226"/>
            <ac:spMk id="36" creationId="{43B89328-B6B3-C854-7744-B36200B152A9}"/>
          </ac:spMkLst>
        </pc:spChg>
        <pc:spChg chg="mod">
          <ac:chgData name="Kathrin Lara Schmidt" userId="cc86c408-88c1-4a0c-884d-b0583cf7cce4" providerId="ADAL" clId="{3616CED3-54ED-47E4-A83E-DBC375936561}" dt="2022-05-29T22:03:34.919" v="3621"/>
          <ac:spMkLst>
            <pc:docMk/>
            <pc:sldMk cId="3221055980" sldId="2145709226"/>
            <ac:spMk id="38" creationId="{8D0636D1-3A7C-B30E-FCDA-50F7D4449F27}"/>
          </ac:spMkLst>
        </pc:spChg>
        <pc:spChg chg="mod">
          <ac:chgData name="Kathrin Lara Schmidt" userId="cc86c408-88c1-4a0c-884d-b0583cf7cce4" providerId="ADAL" clId="{3616CED3-54ED-47E4-A83E-DBC375936561}" dt="2022-05-29T22:03:34.919" v="3621"/>
          <ac:spMkLst>
            <pc:docMk/>
            <pc:sldMk cId="3221055980" sldId="2145709226"/>
            <ac:spMk id="40" creationId="{8DB9D7CE-6E12-2C40-AEFD-27B88FA5FDEC}"/>
          </ac:spMkLst>
        </pc:spChg>
        <pc:spChg chg="mod">
          <ac:chgData name="Kathrin Lara Schmidt" userId="cc86c408-88c1-4a0c-884d-b0583cf7cce4" providerId="ADAL" clId="{3616CED3-54ED-47E4-A83E-DBC375936561}" dt="2022-05-29T22:03:34.919" v="3621"/>
          <ac:spMkLst>
            <pc:docMk/>
            <pc:sldMk cId="3221055980" sldId="2145709226"/>
            <ac:spMk id="41" creationId="{E4FC7633-0367-FA4B-4FA1-F982DF5F6802}"/>
          </ac:spMkLst>
        </pc:spChg>
        <pc:spChg chg="add mod">
          <ac:chgData name="Kathrin Lara Schmidt" userId="cc86c408-88c1-4a0c-884d-b0583cf7cce4" providerId="ADAL" clId="{3616CED3-54ED-47E4-A83E-DBC375936561}" dt="2022-05-29T22:03:54.981" v="3630" actId="14100"/>
          <ac:spMkLst>
            <pc:docMk/>
            <pc:sldMk cId="3221055980" sldId="2145709226"/>
            <ac:spMk id="42" creationId="{52A8DCE1-CC53-BF08-4A39-A6E0D2EC2FD1}"/>
          </ac:spMkLst>
        </pc:spChg>
        <pc:grpChg chg="mod">
          <ac:chgData name="Kathrin Lara Schmidt" userId="cc86c408-88c1-4a0c-884d-b0583cf7cce4" providerId="ADAL" clId="{3616CED3-54ED-47E4-A83E-DBC375936561}" dt="2022-05-29T22:04:18.820" v="3633" actId="1035"/>
          <ac:grpSpMkLst>
            <pc:docMk/>
            <pc:sldMk cId="3221055980" sldId="2145709226"/>
            <ac:grpSpMk id="23" creationId="{EB506F5B-EE8F-9266-D092-8A6DEEB5816B}"/>
          </ac:grpSpMkLst>
        </pc:grpChg>
        <pc:grpChg chg="add del mod">
          <ac:chgData name="Kathrin Lara Schmidt" userId="cc86c408-88c1-4a0c-884d-b0583cf7cce4" providerId="ADAL" clId="{3616CED3-54ED-47E4-A83E-DBC375936561}" dt="2022-05-29T22:03:33.772" v="3620" actId="478"/>
          <ac:grpSpMkLst>
            <pc:docMk/>
            <pc:sldMk cId="3221055980" sldId="2145709226"/>
            <ac:grpSpMk id="31" creationId="{A561932C-AF5B-EEE6-E6C8-0DF76466E835}"/>
          </ac:grpSpMkLst>
        </pc:grpChg>
        <pc:grpChg chg="mod">
          <ac:chgData name="Kathrin Lara Schmidt" userId="cc86c408-88c1-4a0c-884d-b0583cf7cce4" providerId="ADAL" clId="{3616CED3-54ED-47E4-A83E-DBC375936561}" dt="2022-05-29T22:02:00.887" v="3582"/>
          <ac:grpSpMkLst>
            <pc:docMk/>
            <pc:sldMk cId="3221055980" sldId="2145709226"/>
            <ac:grpSpMk id="33" creationId="{BA64A4DC-055C-DB46-8D69-41882A7D2DD0}"/>
          </ac:grpSpMkLst>
        </pc:grpChg>
        <pc:grpChg chg="add mod">
          <ac:chgData name="Kathrin Lara Schmidt" userId="cc86c408-88c1-4a0c-884d-b0583cf7cce4" providerId="ADAL" clId="{3616CED3-54ED-47E4-A83E-DBC375936561}" dt="2022-05-29T22:03:42.768" v="3622" actId="1076"/>
          <ac:grpSpMkLst>
            <pc:docMk/>
            <pc:sldMk cId="3221055980" sldId="2145709226"/>
            <ac:grpSpMk id="37" creationId="{1608315A-32F6-1207-717A-0A9D39009255}"/>
          </ac:grpSpMkLst>
        </pc:grpChg>
        <pc:grpChg chg="mod">
          <ac:chgData name="Kathrin Lara Schmidt" userId="cc86c408-88c1-4a0c-884d-b0583cf7cce4" providerId="ADAL" clId="{3616CED3-54ED-47E4-A83E-DBC375936561}" dt="2022-05-29T22:03:34.919" v="3621"/>
          <ac:grpSpMkLst>
            <pc:docMk/>
            <pc:sldMk cId="3221055980" sldId="2145709226"/>
            <ac:grpSpMk id="39" creationId="{2CBC3894-5073-516D-1BE4-190FC843D7AA}"/>
          </ac:grpSpMkLst>
        </pc:grpChg>
        <pc:graphicFrameChg chg="mod modGraphic">
          <ac:chgData name="Kathrin Lara Schmidt" userId="cc86c408-88c1-4a0c-884d-b0583cf7cce4" providerId="ADAL" clId="{3616CED3-54ED-47E4-A83E-DBC375936561}" dt="2022-05-29T19:38:05.891" v="897" actId="403"/>
          <ac:graphicFrameMkLst>
            <pc:docMk/>
            <pc:sldMk cId="3221055980" sldId="2145709226"/>
            <ac:graphicFrameMk id="4" creationId="{63E4F46A-F4CB-1635-92FA-601B5A745B5A}"/>
          </ac:graphicFrameMkLst>
        </pc:graphicFrameChg>
        <pc:graphicFrameChg chg="mod modGraphic">
          <ac:chgData name="Kathrin Lara Schmidt" userId="cc86c408-88c1-4a0c-884d-b0583cf7cce4" providerId="ADAL" clId="{3616CED3-54ED-47E4-A83E-DBC375936561}" dt="2022-05-29T19:37:38.419" v="890"/>
          <ac:graphicFrameMkLst>
            <pc:docMk/>
            <pc:sldMk cId="3221055980" sldId="2145709226"/>
            <ac:graphicFrameMk id="18" creationId="{F5262A71-BDCE-8921-DB7E-6F0E2E070533}"/>
          </ac:graphicFrameMkLst>
        </pc:graphicFrameChg>
        <pc:graphicFrameChg chg="mod modGraphic">
          <ac:chgData name="Kathrin Lara Schmidt" userId="cc86c408-88c1-4a0c-884d-b0583cf7cce4" providerId="ADAL" clId="{3616CED3-54ED-47E4-A83E-DBC375936561}" dt="2022-05-29T19:42:24.650" v="930" actId="207"/>
          <ac:graphicFrameMkLst>
            <pc:docMk/>
            <pc:sldMk cId="3221055980" sldId="2145709226"/>
            <ac:graphicFrameMk id="20" creationId="{06295525-A90A-4793-B405-F7C9C2B7E339}"/>
          </ac:graphicFrameMkLst>
        </pc:graphicFrameChg>
        <pc:picChg chg="add del mod">
          <ac:chgData name="Kathrin Lara Schmidt" userId="cc86c408-88c1-4a0c-884d-b0583cf7cce4" providerId="ADAL" clId="{3616CED3-54ED-47E4-A83E-DBC375936561}" dt="2022-05-29T19:23:10.128" v="628" actId="478"/>
          <ac:picMkLst>
            <pc:docMk/>
            <pc:sldMk cId="3221055980" sldId="2145709226"/>
            <ac:picMk id="5" creationId="{DDB668D8-7CAB-4D3E-3B0D-BB0BF34F54C7}"/>
          </ac:picMkLst>
        </pc:picChg>
      </pc:sldChg>
      <pc:sldChg chg="addSp delSp modSp mod">
        <pc:chgData name="Kathrin Lara Schmidt" userId="cc86c408-88c1-4a0c-884d-b0583cf7cce4" providerId="ADAL" clId="{3616CED3-54ED-47E4-A83E-DBC375936561}" dt="2022-05-29T22:23:09.120" v="3843" actId="1036"/>
        <pc:sldMkLst>
          <pc:docMk/>
          <pc:sldMk cId="3299801757" sldId="2145709227"/>
        </pc:sldMkLst>
        <pc:spChg chg="add mod">
          <ac:chgData name="Kathrin Lara Schmidt" userId="cc86c408-88c1-4a0c-884d-b0583cf7cce4" providerId="ADAL" clId="{3616CED3-54ED-47E4-A83E-DBC375936561}" dt="2022-05-29T22:01:23.773" v="3581" actId="1038"/>
          <ac:spMkLst>
            <pc:docMk/>
            <pc:sldMk cId="3299801757" sldId="2145709227"/>
            <ac:spMk id="5" creationId="{DA535F3B-0FD7-D852-34B5-ADBE20EA053C}"/>
          </ac:spMkLst>
        </pc:spChg>
        <pc:spChg chg="add del mod">
          <ac:chgData name="Kathrin Lara Schmidt" userId="cc86c408-88c1-4a0c-884d-b0583cf7cce4" providerId="ADAL" clId="{3616CED3-54ED-47E4-A83E-DBC375936561}" dt="2022-05-29T19:51:29.428" v="1092" actId="478"/>
          <ac:spMkLst>
            <pc:docMk/>
            <pc:sldMk cId="3299801757" sldId="2145709227"/>
            <ac:spMk id="12" creationId="{AA7C0EA2-C748-E377-168C-7597A70829DD}"/>
          </ac:spMkLst>
        </pc:spChg>
        <pc:spChg chg="mod">
          <ac:chgData name="Kathrin Lara Schmidt" userId="cc86c408-88c1-4a0c-884d-b0583cf7cce4" providerId="ADAL" clId="{3616CED3-54ED-47E4-A83E-DBC375936561}" dt="2022-05-29T19:51:05.717" v="1084"/>
          <ac:spMkLst>
            <pc:docMk/>
            <pc:sldMk cId="3299801757" sldId="2145709227"/>
            <ac:spMk id="14" creationId="{D2C7D65E-2463-CBF5-A71E-02AD95785085}"/>
          </ac:spMkLst>
        </pc:spChg>
        <pc:spChg chg="mod">
          <ac:chgData name="Kathrin Lara Schmidt" userId="cc86c408-88c1-4a0c-884d-b0583cf7cce4" providerId="ADAL" clId="{3616CED3-54ED-47E4-A83E-DBC375936561}" dt="2022-05-29T19:51:05.717" v="1084"/>
          <ac:spMkLst>
            <pc:docMk/>
            <pc:sldMk cId="3299801757" sldId="2145709227"/>
            <ac:spMk id="16" creationId="{0CE5A429-21BC-3249-0B2D-08D3EBFEFEDB}"/>
          </ac:spMkLst>
        </pc:spChg>
        <pc:spChg chg="mod">
          <ac:chgData name="Kathrin Lara Schmidt" userId="cc86c408-88c1-4a0c-884d-b0583cf7cce4" providerId="ADAL" clId="{3616CED3-54ED-47E4-A83E-DBC375936561}" dt="2022-05-29T19:51:05.717" v="1084"/>
          <ac:spMkLst>
            <pc:docMk/>
            <pc:sldMk cId="3299801757" sldId="2145709227"/>
            <ac:spMk id="18" creationId="{E1B4E14D-CADC-BDD2-C2EF-DA7C6D097092}"/>
          </ac:spMkLst>
        </pc:spChg>
        <pc:spChg chg="add mod">
          <ac:chgData name="Kathrin Lara Schmidt" userId="cc86c408-88c1-4a0c-884d-b0583cf7cce4" providerId="ADAL" clId="{3616CED3-54ED-47E4-A83E-DBC375936561}" dt="2022-05-29T22:18:06.198" v="3664" actId="14100"/>
          <ac:spMkLst>
            <pc:docMk/>
            <pc:sldMk cId="3299801757" sldId="2145709227"/>
            <ac:spMk id="20" creationId="{51BB46F9-6554-063D-8805-ECBA94F7D17C}"/>
          </ac:spMkLst>
        </pc:spChg>
        <pc:spChg chg="mod">
          <ac:chgData name="Kathrin Lara Schmidt" userId="cc86c408-88c1-4a0c-884d-b0583cf7cce4" providerId="ADAL" clId="{3616CED3-54ED-47E4-A83E-DBC375936561}" dt="2022-05-29T19:51:06.311" v="1085"/>
          <ac:spMkLst>
            <pc:docMk/>
            <pc:sldMk cId="3299801757" sldId="2145709227"/>
            <ac:spMk id="22" creationId="{0DDE1469-CCF2-A594-C605-102235D7BD2D}"/>
          </ac:spMkLst>
        </pc:spChg>
        <pc:spChg chg="mod">
          <ac:chgData name="Kathrin Lara Schmidt" userId="cc86c408-88c1-4a0c-884d-b0583cf7cce4" providerId="ADAL" clId="{3616CED3-54ED-47E4-A83E-DBC375936561}" dt="2022-05-29T19:51:06.311" v="1085"/>
          <ac:spMkLst>
            <pc:docMk/>
            <pc:sldMk cId="3299801757" sldId="2145709227"/>
            <ac:spMk id="24" creationId="{F8E86BD1-BF1F-D924-4040-6DFCE9D5FD8E}"/>
          </ac:spMkLst>
        </pc:spChg>
        <pc:spChg chg="mod">
          <ac:chgData name="Kathrin Lara Schmidt" userId="cc86c408-88c1-4a0c-884d-b0583cf7cce4" providerId="ADAL" clId="{3616CED3-54ED-47E4-A83E-DBC375936561}" dt="2022-05-29T19:51:06.311" v="1085"/>
          <ac:spMkLst>
            <pc:docMk/>
            <pc:sldMk cId="3299801757" sldId="2145709227"/>
            <ac:spMk id="25" creationId="{5E2414AC-64AE-B172-83FE-5C6E2FC8C08B}"/>
          </ac:spMkLst>
        </pc:spChg>
        <pc:spChg chg="add del mod">
          <ac:chgData name="Kathrin Lara Schmidt" userId="cc86c408-88c1-4a0c-884d-b0583cf7cce4" providerId="ADAL" clId="{3616CED3-54ED-47E4-A83E-DBC375936561}" dt="2022-05-29T21:48:49.717" v="3159" actId="478"/>
          <ac:spMkLst>
            <pc:docMk/>
            <pc:sldMk cId="3299801757" sldId="2145709227"/>
            <ac:spMk id="26" creationId="{E2E42E26-345E-06BB-CC3C-8EA77F70383C}"/>
          </ac:spMkLst>
        </pc:spChg>
        <pc:spChg chg="add del">
          <ac:chgData name="Kathrin Lara Schmidt" userId="cc86c408-88c1-4a0c-884d-b0583cf7cce4" providerId="ADAL" clId="{3616CED3-54ED-47E4-A83E-DBC375936561}" dt="2022-05-29T21:57:39.419" v="3465" actId="22"/>
          <ac:spMkLst>
            <pc:docMk/>
            <pc:sldMk cId="3299801757" sldId="2145709227"/>
            <ac:spMk id="27" creationId="{771853EB-E55F-7AF8-5B3E-7BA2DA8857A0}"/>
          </ac:spMkLst>
        </pc:spChg>
        <pc:spChg chg="add mod">
          <ac:chgData name="Kathrin Lara Schmidt" userId="cc86c408-88c1-4a0c-884d-b0583cf7cce4" providerId="ADAL" clId="{3616CED3-54ED-47E4-A83E-DBC375936561}" dt="2022-05-29T21:57:50.575" v="3467"/>
          <ac:spMkLst>
            <pc:docMk/>
            <pc:sldMk cId="3299801757" sldId="2145709227"/>
            <ac:spMk id="29" creationId="{53591106-CEB5-5AA9-AE40-A754BDAFE096}"/>
          </ac:spMkLst>
        </pc:spChg>
        <pc:spChg chg="mod">
          <ac:chgData name="Kathrin Lara Schmidt" userId="cc86c408-88c1-4a0c-884d-b0583cf7cce4" providerId="ADAL" clId="{3616CED3-54ED-47E4-A83E-DBC375936561}" dt="2022-05-29T22:18:08.503" v="3665"/>
          <ac:spMkLst>
            <pc:docMk/>
            <pc:sldMk cId="3299801757" sldId="2145709227"/>
            <ac:spMk id="34" creationId="{98DB6A2D-8265-CA48-3F56-B1D3E068BD43}"/>
          </ac:spMkLst>
        </pc:spChg>
        <pc:spChg chg="mod">
          <ac:chgData name="Kathrin Lara Schmidt" userId="cc86c408-88c1-4a0c-884d-b0583cf7cce4" providerId="ADAL" clId="{3616CED3-54ED-47E4-A83E-DBC375936561}" dt="2022-05-29T22:18:08.503" v="3665"/>
          <ac:spMkLst>
            <pc:docMk/>
            <pc:sldMk cId="3299801757" sldId="2145709227"/>
            <ac:spMk id="36" creationId="{DD2D9AAD-76CA-3D76-CA2B-F9459A306BA8}"/>
          </ac:spMkLst>
        </pc:spChg>
        <pc:spChg chg="mod">
          <ac:chgData name="Kathrin Lara Schmidt" userId="cc86c408-88c1-4a0c-884d-b0583cf7cce4" providerId="ADAL" clId="{3616CED3-54ED-47E4-A83E-DBC375936561}" dt="2022-05-29T22:18:08.503" v="3665"/>
          <ac:spMkLst>
            <pc:docMk/>
            <pc:sldMk cId="3299801757" sldId="2145709227"/>
            <ac:spMk id="37" creationId="{5D8313B4-D4A6-2F73-AEB5-A354421ACB15}"/>
          </ac:spMkLst>
        </pc:spChg>
        <pc:spChg chg="add mod ord">
          <ac:chgData name="Kathrin Lara Schmidt" userId="cc86c408-88c1-4a0c-884d-b0583cf7cce4" providerId="ADAL" clId="{3616CED3-54ED-47E4-A83E-DBC375936561}" dt="2022-05-29T22:22:45.371" v="3824" actId="14100"/>
          <ac:spMkLst>
            <pc:docMk/>
            <pc:sldMk cId="3299801757" sldId="2145709227"/>
            <ac:spMk id="38" creationId="{63799247-2E70-911D-7C12-2AEC41798F49}"/>
          </ac:spMkLst>
        </pc:spChg>
        <pc:spChg chg="add del mod">
          <ac:chgData name="Kathrin Lara Schmidt" userId="cc86c408-88c1-4a0c-884d-b0583cf7cce4" providerId="ADAL" clId="{3616CED3-54ED-47E4-A83E-DBC375936561}" dt="2022-05-29T22:21:32.185" v="3738"/>
          <ac:spMkLst>
            <pc:docMk/>
            <pc:sldMk cId="3299801757" sldId="2145709227"/>
            <ac:spMk id="39" creationId="{CA06ACB2-CB58-1D16-7D53-2D4F63B1E9C3}"/>
          </ac:spMkLst>
        </pc:spChg>
        <pc:spChg chg="add mod ord">
          <ac:chgData name="Kathrin Lara Schmidt" userId="cc86c408-88c1-4a0c-884d-b0583cf7cce4" providerId="ADAL" clId="{3616CED3-54ED-47E4-A83E-DBC375936561}" dt="2022-05-29T22:23:09.120" v="3843" actId="1036"/>
          <ac:spMkLst>
            <pc:docMk/>
            <pc:sldMk cId="3299801757" sldId="2145709227"/>
            <ac:spMk id="40" creationId="{8B0A3F50-4A42-3F08-6DD1-4B7FF798DAE9}"/>
          </ac:spMkLst>
        </pc:spChg>
        <pc:grpChg chg="add del mod ord">
          <ac:chgData name="Kathrin Lara Schmidt" userId="cc86c408-88c1-4a0c-884d-b0583cf7cce4" providerId="ADAL" clId="{3616CED3-54ED-47E4-A83E-DBC375936561}" dt="2022-05-29T21:48:49.717" v="3159" actId="478"/>
          <ac:grpSpMkLst>
            <pc:docMk/>
            <pc:sldMk cId="3299801757" sldId="2145709227"/>
            <ac:grpSpMk id="13" creationId="{F8414DAC-70A6-DB5D-12E6-5268C0A86B08}"/>
          </ac:grpSpMkLst>
        </pc:grpChg>
        <pc:grpChg chg="mod">
          <ac:chgData name="Kathrin Lara Schmidt" userId="cc86c408-88c1-4a0c-884d-b0583cf7cce4" providerId="ADAL" clId="{3616CED3-54ED-47E4-A83E-DBC375936561}" dt="2022-05-29T19:51:05.717" v="1084"/>
          <ac:grpSpMkLst>
            <pc:docMk/>
            <pc:sldMk cId="3299801757" sldId="2145709227"/>
            <ac:grpSpMk id="15" creationId="{885B52A7-E040-F930-3B98-0A88A61CC1B6}"/>
          </ac:grpSpMkLst>
        </pc:grpChg>
        <pc:grpChg chg="add mod">
          <ac:chgData name="Kathrin Lara Schmidt" userId="cc86c408-88c1-4a0c-884d-b0583cf7cce4" providerId="ADAL" clId="{3616CED3-54ED-47E4-A83E-DBC375936561}" dt="2022-05-29T22:01:23.773" v="3581" actId="1038"/>
          <ac:grpSpMkLst>
            <pc:docMk/>
            <pc:sldMk cId="3299801757" sldId="2145709227"/>
            <ac:grpSpMk id="21" creationId="{3EDB32C4-7C4B-F80C-C8B8-00715AC3FEA8}"/>
          </ac:grpSpMkLst>
        </pc:grpChg>
        <pc:grpChg chg="mod">
          <ac:chgData name="Kathrin Lara Schmidt" userId="cc86c408-88c1-4a0c-884d-b0583cf7cce4" providerId="ADAL" clId="{3616CED3-54ED-47E4-A83E-DBC375936561}" dt="2022-05-29T19:51:06.311" v="1085"/>
          <ac:grpSpMkLst>
            <pc:docMk/>
            <pc:sldMk cId="3299801757" sldId="2145709227"/>
            <ac:grpSpMk id="23" creationId="{DFD7D1DC-9947-1CB9-4F94-4A405B84C61B}"/>
          </ac:grpSpMkLst>
        </pc:grpChg>
        <pc:grpChg chg="add mod">
          <ac:chgData name="Kathrin Lara Schmidt" userId="cc86c408-88c1-4a0c-884d-b0583cf7cce4" providerId="ADAL" clId="{3616CED3-54ED-47E4-A83E-DBC375936561}" dt="2022-05-29T22:18:36.033" v="3677" actId="1038"/>
          <ac:grpSpMkLst>
            <pc:docMk/>
            <pc:sldMk cId="3299801757" sldId="2145709227"/>
            <ac:grpSpMk id="33" creationId="{BAD1D21B-44BB-E72D-DEA8-694E252B41EA}"/>
          </ac:grpSpMkLst>
        </pc:grpChg>
        <pc:grpChg chg="mod">
          <ac:chgData name="Kathrin Lara Schmidt" userId="cc86c408-88c1-4a0c-884d-b0583cf7cce4" providerId="ADAL" clId="{3616CED3-54ED-47E4-A83E-DBC375936561}" dt="2022-05-29T22:18:08.503" v="3665"/>
          <ac:grpSpMkLst>
            <pc:docMk/>
            <pc:sldMk cId="3299801757" sldId="2145709227"/>
            <ac:grpSpMk id="35" creationId="{0E14D5E9-E319-B03B-7EA5-DF7898415F66}"/>
          </ac:grpSpMkLst>
        </pc:grpChg>
        <pc:graphicFrameChg chg="add mod modGraphic">
          <ac:chgData name="Kathrin Lara Schmidt" userId="cc86c408-88c1-4a0c-884d-b0583cf7cce4" providerId="ADAL" clId="{3616CED3-54ED-47E4-A83E-DBC375936561}" dt="2022-05-29T22:01:23.773" v="3581" actId="1038"/>
          <ac:graphicFrameMkLst>
            <pc:docMk/>
            <pc:sldMk cId="3299801757" sldId="2145709227"/>
            <ac:graphicFrameMk id="10" creationId="{89585C7A-0B45-FA98-6300-424133915E58}"/>
          </ac:graphicFrameMkLst>
        </pc:graphicFrameChg>
        <pc:picChg chg="add del mod">
          <ac:chgData name="Kathrin Lara Schmidt" userId="cc86c408-88c1-4a0c-884d-b0583cf7cce4" providerId="ADAL" clId="{3616CED3-54ED-47E4-A83E-DBC375936561}" dt="2022-05-29T19:46:50.709" v="969" actId="478"/>
          <ac:picMkLst>
            <pc:docMk/>
            <pc:sldMk cId="3299801757" sldId="2145709227"/>
            <ac:picMk id="4" creationId="{CCF3B072-C7F4-6910-4F44-4A02876F00F7}"/>
          </ac:picMkLst>
        </pc:picChg>
        <pc:picChg chg="add mod">
          <ac:chgData name="Kathrin Lara Schmidt" userId="cc86c408-88c1-4a0c-884d-b0583cf7cce4" providerId="ADAL" clId="{3616CED3-54ED-47E4-A83E-DBC375936561}" dt="2022-05-29T22:22:54.717" v="3830" actId="1037"/>
          <ac:picMkLst>
            <pc:docMk/>
            <pc:sldMk cId="3299801757" sldId="2145709227"/>
            <ac:picMk id="11" creationId="{F2F15163-EF27-BFF2-1944-E31DDDF0DBEF}"/>
          </ac:picMkLst>
        </pc:picChg>
        <pc:picChg chg="add mod">
          <ac:chgData name="Kathrin Lara Schmidt" userId="cc86c408-88c1-4a0c-884d-b0583cf7cce4" providerId="ADAL" clId="{3616CED3-54ED-47E4-A83E-DBC375936561}" dt="2022-05-29T22:23:09.120" v="3843" actId="1036"/>
          <ac:picMkLst>
            <pc:docMk/>
            <pc:sldMk cId="3299801757" sldId="2145709227"/>
            <ac:picMk id="32" creationId="{F9C37E20-4E02-0163-B87F-673808709A96}"/>
          </ac:picMkLst>
        </pc:picChg>
      </pc:sldChg>
      <pc:sldChg chg="addSp delSp modSp add mod">
        <pc:chgData name="Kathrin Lara Schmidt" userId="cc86c408-88c1-4a0c-884d-b0583cf7cce4" providerId="ADAL" clId="{3616CED3-54ED-47E4-A83E-DBC375936561}" dt="2022-05-30T12:29:26.477" v="5107" actId="1076"/>
        <pc:sldMkLst>
          <pc:docMk/>
          <pc:sldMk cId="426641346" sldId="2145709228"/>
        </pc:sldMkLst>
        <pc:spChg chg="mod">
          <ac:chgData name="Kathrin Lara Schmidt" userId="cc86c408-88c1-4a0c-884d-b0583cf7cce4" providerId="ADAL" clId="{3616CED3-54ED-47E4-A83E-DBC375936561}" dt="2022-05-30T12:21:51.655" v="4933" actId="14100"/>
          <ac:spMkLst>
            <pc:docMk/>
            <pc:sldMk cId="426641346" sldId="2145709228"/>
            <ac:spMk id="7" creationId="{66F36670-6DB9-270F-0074-C6F5F3308806}"/>
          </ac:spMkLst>
        </pc:spChg>
        <pc:spChg chg="del">
          <ac:chgData name="Kathrin Lara Schmidt" userId="cc86c408-88c1-4a0c-884d-b0583cf7cce4" providerId="ADAL" clId="{3616CED3-54ED-47E4-A83E-DBC375936561}" dt="2022-05-30T12:21:32.105" v="4928" actId="478"/>
          <ac:spMkLst>
            <pc:docMk/>
            <pc:sldMk cId="426641346" sldId="2145709228"/>
            <ac:spMk id="11" creationId="{7123C3A6-B64F-D82A-920E-6321F4F4C655}"/>
          </ac:spMkLst>
        </pc:spChg>
        <pc:spChg chg="del mod">
          <ac:chgData name="Kathrin Lara Schmidt" userId="cc86c408-88c1-4a0c-884d-b0583cf7cce4" providerId="ADAL" clId="{3616CED3-54ED-47E4-A83E-DBC375936561}" dt="2022-05-30T12:22:10.750" v="4935" actId="478"/>
          <ac:spMkLst>
            <pc:docMk/>
            <pc:sldMk cId="426641346" sldId="2145709228"/>
            <ac:spMk id="15" creationId="{485BAD6B-96E4-F918-8EB3-822F4D60D97E}"/>
          </ac:spMkLst>
        </pc:spChg>
        <pc:spChg chg="del">
          <ac:chgData name="Kathrin Lara Schmidt" userId="cc86c408-88c1-4a0c-884d-b0583cf7cce4" providerId="ADAL" clId="{3616CED3-54ED-47E4-A83E-DBC375936561}" dt="2022-05-30T12:21:33.763" v="4929" actId="478"/>
          <ac:spMkLst>
            <pc:docMk/>
            <pc:sldMk cId="426641346" sldId="2145709228"/>
            <ac:spMk id="21" creationId="{9644143C-C819-9961-71AD-4CAA7C036219}"/>
          </ac:spMkLst>
        </pc:spChg>
        <pc:spChg chg="add mod">
          <ac:chgData name="Kathrin Lara Schmidt" userId="cc86c408-88c1-4a0c-884d-b0583cf7cce4" providerId="ADAL" clId="{3616CED3-54ED-47E4-A83E-DBC375936561}" dt="2022-05-30T12:21:15.655" v="4924" actId="14100"/>
          <ac:spMkLst>
            <pc:docMk/>
            <pc:sldMk cId="426641346" sldId="2145709228"/>
            <ac:spMk id="22" creationId="{5EC46767-2C94-4ADC-DC00-1189526DC7B9}"/>
          </ac:spMkLst>
        </pc:spChg>
        <pc:spChg chg="add mod">
          <ac:chgData name="Kathrin Lara Schmidt" userId="cc86c408-88c1-4a0c-884d-b0583cf7cce4" providerId="ADAL" clId="{3616CED3-54ED-47E4-A83E-DBC375936561}" dt="2022-05-30T12:18:45.218" v="4808" actId="14100"/>
          <ac:spMkLst>
            <pc:docMk/>
            <pc:sldMk cId="426641346" sldId="2145709228"/>
            <ac:spMk id="23" creationId="{293E2A8F-4A8C-6A63-BCFB-DC4E235A8072}"/>
          </ac:spMkLst>
        </pc:spChg>
        <pc:spChg chg="add mod">
          <ac:chgData name="Kathrin Lara Schmidt" userId="cc86c408-88c1-4a0c-884d-b0583cf7cce4" providerId="ADAL" clId="{3616CED3-54ED-47E4-A83E-DBC375936561}" dt="2022-05-30T12:18:49.658" v="4809" actId="14100"/>
          <ac:spMkLst>
            <pc:docMk/>
            <pc:sldMk cId="426641346" sldId="2145709228"/>
            <ac:spMk id="24" creationId="{6290AADE-31CB-3256-24B8-D7833E9B8FEB}"/>
          </ac:spMkLst>
        </pc:spChg>
        <pc:spChg chg="add mod">
          <ac:chgData name="Kathrin Lara Schmidt" userId="cc86c408-88c1-4a0c-884d-b0583cf7cce4" providerId="ADAL" clId="{3616CED3-54ED-47E4-A83E-DBC375936561}" dt="2022-05-30T12:21:08.623" v="4923" actId="948"/>
          <ac:spMkLst>
            <pc:docMk/>
            <pc:sldMk cId="426641346" sldId="2145709228"/>
            <ac:spMk id="25" creationId="{F8CCEB5F-06B8-46D1-872C-72FA56CE56B0}"/>
          </ac:spMkLst>
        </pc:spChg>
        <pc:spChg chg="mod">
          <ac:chgData name="Kathrin Lara Schmidt" userId="cc86c408-88c1-4a0c-884d-b0583cf7cce4" providerId="ADAL" clId="{3616CED3-54ED-47E4-A83E-DBC375936561}" dt="2022-05-30T12:22:11.459" v="4936"/>
          <ac:spMkLst>
            <pc:docMk/>
            <pc:sldMk cId="426641346" sldId="2145709228"/>
            <ac:spMk id="27" creationId="{63AD8173-C4BC-D015-91D8-9B5657A46C43}"/>
          </ac:spMkLst>
        </pc:spChg>
        <pc:spChg chg="mod">
          <ac:chgData name="Kathrin Lara Schmidt" userId="cc86c408-88c1-4a0c-884d-b0583cf7cce4" providerId="ADAL" clId="{3616CED3-54ED-47E4-A83E-DBC375936561}" dt="2022-05-29T17:04:54.088" v="511" actId="20577"/>
          <ac:spMkLst>
            <pc:docMk/>
            <pc:sldMk cId="426641346" sldId="2145709228"/>
            <ac:spMk id="30" creationId="{37A31358-C64D-BA4B-B76C-08DCCEFFF2BF}"/>
          </ac:spMkLst>
        </pc:spChg>
        <pc:spChg chg="mod">
          <ac:chgData name="Kathrin Lara Schmidt" userId="cc86c408-88c1-4a0c-884d-b0583cf7cce4" providerId="ADAL" clId="{3616CED3-54ED-47E4-A83E-DBC375936561}" dt="2022-05-30T12:22:11.459" v="4936"/>
          <ac:spMkLst>
            <pc:docMk/>
            <pc:sldMk cId="426641346" sldId="2145709228"/>
            <ac:spMk id="31" creationId="{717A6D8C-B97A-7093-6487-CC5073F49E6E}"/>
          </ac:spMkLst>
        </pc:spChg>
        <pc:spChg chg="mod">
          <ac:chgData name="Kathrin Lara Schmidt" userId="cc86c408-88c1-4a0c-884d-b0583cf7cce4" providerId="ADAL" clId="{3616CED3-54ED-47E4-A83E-DBC375936561}" dt="2022-05-30T12:22:11.459" v="4936"/>
          <ac:spMkLst>
            <pc:docMk/>
            <pc:sldMk cId="426641346" sldId="2145709228"/>
            <ac:spMk id="32" creationId="{BB62CAD8-C593-E4BE-99D1-A53460A3FD46}"/>
          </ac:spMkLst>
        </pc:spChg>
        <pc:spChg chg="add mod">
          <ac:chgData name="Kathrin Lara Schmidt" userId="cc86c408-88c1-4a0c-884d-b0583cf7cce4" providerId="ADAL" clId="{3616CED3-54ED-47E4-A83E-DBC375936561}" dt="2022-05-30T12:29:22.369" v="5106" actId="20577"/>
          <ac:spMkLst>
            <pc:docMk/>
            <pc:sldMk cId="426641346" sldId="2145709228"/>
            <ac:spMk id="33" creationId="{A9B4A9F2-1A93-1CFC-48B1-9C2C3367559F}"/>
          </ac:spMkLst>
        </pc:spChg>
        <pc:spChg chg="add mod">
          <ac:chgData name="Kathrin Lara Schmidt" userId="cc86c408-88c1-4a0c-884d-b0583cf7cce4" providerId="ADAL" clId="{3616CED3-54ED-47E4-A83E-DBC375936561}" dt="2022-05-30T12:29:26.477" v="5107" actId="1076"/>
          <ac:spMkLst>
            <pc:docMk/>
            <pc:sldMk cId="426641346" sldId="2145709228"/>
            <ac:spMk id="34" creationId="{3CBDB6A2-27E5-B6C6-92EA-A3DB8F70407B}"/>
          </ac:spMkLst>
        </pc:spChg>
        <pc:grpChg chg="del">
          <ac:chgData name="Kathrin Lara Schmidt" userId="cc86c408-88c1-4a0c-884d-b0583cf7cce4" providerId="ADAL" clId="{3616CED3-54ED-47E4-A83E-DBC375936561}" dt="2022-05-30T12:21:30.105" v="4925" actId="478"/>
          <ac:grpSpMkLst>
            <pc:docMk/>
            <pc:sldMk cId="426641346" sldId="2145709228"/>
            <ac:grpSpMk id="8" creationId="{00FB6F49-AFC1-86E6-4870-1604B3A2AEC3}"/>
          </ac:grpSpMkLst>
        </pc:grpChg>
        <pc:grpChg chg="del">
          <ac:chgData name="Kathrin Lara Schmidt" userId="cc86c408-88c1-4a0c-884d-b0583cf7cce4" providerId="ADAL" clId="{3616CED3-54ED-47E4-A83E-DBC375936561}" dt="2022-05-30T12:21:31.415" v="4927" actId="478"/>
          <ac:grpSpMkLst>
            <pc:docMk/>
            <pc:sldMk cId="426641346" sldId="2145709228"/>
            <ac:grpSpMk id="12" creationId="{0FD54943-5E05-C98C-89BD-C66F48B67F91}"/>
          </ac:grpSpMkLst>
        </pc:grpChg>
        <pc:grpChg chg="del">
          <ac:chgData name="Kathrin Lara Schmidt" userId="cc86c408-88c1-4a0c-884d-b0583cf7cce4" providerId="ADAL" clId="{3616CED3-54ED-47E4-A83E-DBC375936561}" dt="2022-05-30T12:21:30.606" v="4926" actId="478"/>
          <ac:grpSpMkLst>
            <pc:docMk/>
            <pc:sldMk cId="426641346" sldId="2145709228"/>
            <ac:grpSpMk id="16" creationId="{9D754FE6-8B1A-F0B9-AA21-819F73316D88}"/>
          </ac:grpSpMkLst>
        </pc:grpChg>
        <pc:grpChg chg="add mod">
          <ac:chgData name="Kathrin Lara Schmidt" userId="cc86c408-88c1-4a0c-884d-b0583cf7cce4" providerId="ADAL" clId="{3616CED3-54ED-47E4-A83E-DBC375936561}" dt="2022-05-30T12:22:16.527" v="4937" actId="1076"/>
          <ac:grpSpMkLst>
            <pc:docMk/>
            <pc:sldMk cId="426641346" sldId="2145709228"/>
            <ac:grpSpMk id="26" creationId="{5D37D3F6-5554-1AA6-4178-456563DF7CD2}"/>
          </ac:grpSpMkLst>
        </pc:grpChg>
        <pc:grpChg chg="mod">
          <ac:chgData name="Kathrin Lara Schmidt" userId="cc86c408-88c1-4a0c-884d-b0583cf7cce4" providerId="ADAL" clId="{3616CED3-54ED-47E4-A83E-DBC375936561}" dt="2022-05-30T12:22:11.459" v="4936"/>
          <ac:grpSpMkLst>
            <pc:docMk/>
            <pc:sldMk cId="426641346" sldId="2145709228"/>
            <ac:grpSpMk id="29" creationId="{4CE937DD-2F55-5DC4-7202-320678E9CCE9}"/>
          </ac:grpSpMkLst>
        </pc:grpChg>
      </pc:sldChg>
      <pc:sldChg chg="addSp delSp modSp add mod">
        <pc:chgData name="Kathrin Lara Schmidt" userId="cc86c408-88c1-4a0c-884d-b0583cf7cce4" providerId="ADAL" clId="{3616CED3-54ED-47E4-A83E-DBC375936561}" dt="2022-05-30T11:51:42.821" v="4275" actId="207"/>
        <pc:sldMkLst>
          <pc:docMk/>
          <pc:sldMk cId="2631998992" sldId="2145709229"/>
        </pc:sldMkLst>
        <pc:spChg chg="mod">
          <ac:chgData name="Kathrin Lara Schmidt" userId="cc86c408-88c1-4a0c-884d-b0583cf7cce4" providerId="ADAL" clId="{3616CED3-54ED-47E4-A83E-DBC375936561}" dt="2022-05-29T19:15:26.121" v="539" actId="242"/>
          <ac:spMkLst>
            <pc:docMk/>
            <pc:sldMk cId="2631998992" sldId="2145709229"/>
            <ac:spMk id="30" creationId="{37A31358-C64D-BA4B-B76C-08DCCEFFF2BF}"/>
          </ac:spMkLst>
        </pc:spChg>
        <pc:graphicFrameChg chg="add del mod">
          <ac:chgData name="Kathrin Lara Schmidt" userId="cc86c408-88c1-4a0c-884d-b0583cf7cce4" providerId="ADAL" clId="{3616CED3-54ED-47E4-A83E-DBC375936561}" dt="2022-05-30T11:40:23.018" v="4185"/>
          <ac:graphicFrameMkLst>
            <pc:docMk/>
            <pc:sldMk cId="2631998992" sldId="2145709229"/>
            <ac:graphicFrameMk id="2" creationId="{977C7D80-DBCB-59F7-ECE6-37F70D8EE9AF}"/>
          </ac:graphicFrameMkLst>
        </pc:graphicFrameChg>
        <pc:graphicFrameChg chg="add del mod">
          <ac:chgData name="Kathrin Lara Schmidt" userId="cc86c408-88c1-4a0c-884d-b0583cf7cce4" providerId="ADAL" clId="{3616CED3-54ED-47E4-A83E-DBC375936561}" dt="2022-05-30T11:40:49.942" v="4191"/>
          <ac:graphicFrameMkLst>
            <pc:docMk/>
            <pc:sldMk cId="2631998992" sldId="2145709229"/>
            <ac:graphicFrameMk id="5" creationId="{F061953F-4B89-0F5B-67DD-EE528007238F}"/>
          </ac:graphicFrameMkLst>
        </pc:graphicFrameChg>
        <pc:graphicFrameChg chg="add del mod">
          <ac:chgData name="Kathrin Lara Schmidt" userId="cc86c408-88c1-4a0c-884d-b0583cf7cce4" providerId="ADAL" clId="{3616CED3-54ED-47E4-A83E-DBC375936561}" dt="2022-05-30T11:40:58.571" v="4194"/>
          <ac:graphicFrameMkLst>
            <pc:docMk/>
            <pc:sldMk cId="2631998992" sldId="2145709229"/>
            <ac:graphicFrameMk id="7" creationId="{B95C2A8D-8608-099D-3F19-6B74C09BF64A}"/>
          </ac:graphicFrameMkLst>
        </pc:graphicFrameChg>
        <pc:graphicFrameChg chg="add mod modGraphic">
          <ac:chgData name="Kathrin Lara Schmidt" userId="cc86c408-88c1-4a0c-884d-b0583cf7cce4" providerId="ADAL" clId="{3616CED3-54ED-47E4-A83E-DBC375936561}" dt="2022-05-30T11:51:42.821" v="4275" actId="207"/>
          <ac:graphicFrameMkLst>
            <pc:docMk/>
            <pc:sldMk cId="2631998992" sldId="2145709229"/>
            <ac:graphicFrameMk id="10" creationId="{7757C84D-62B7-23DE-B180-2E2AED36EA48}"/>
          </ac:graphicFrameMkLst>
        </pc:graphicFrameChg>
        <pc:graphicFrameChg chg="add mod modGraphic">
          <ac:chgData name="Kathrin Lara Schmidt" userId="cc86c408-88c1-4a0c-884d-b0583cf7cce4" providerId="ADAL" clId="{3616CED3-54ED-47E4-A83E-DBC375936561}" dt="2022-05-30T11:50:25.935" v="4273" actId="207"/>
          <ac:graphicFrameMkLst>
            <pc:docMk/>
            <pc:sldMk cId="2631998992" sldId="2145709229"/>
            <ac:graphicFrameMk id="11" creationId="{41EE35E9-ABB3-61DD-992F-FEB87A951A1E}"/>
          </ac:graphicFrameMkLst>
        </pc:graphicFrameChg>
        <pc:picChg chg="add del mod">
          <ac:chgData name="Kathrin Lara Schmidt" userId="cc86c408-88c1-4a0c-884d-b0583cf7cce4" providerId="ADAL" clId="{3616CED3-54ED-47E4-A83E-DBC375936561}" dt="2022-05-30T11:35:06.230" v="4059" actId="478"/>
          <ac:picMkLst>
            <pc:docMk/>
            <pc:sldMk cId="2631998992" sldId="2145709229"/>
            <ac:picMk id="4" creationId="{E498CA41-699D-FAE4-CD3D-2B95C141A6EB}"/>
          </ac:picMkLst>
        </pc:picChg>
        <pc:picChg chg="add del mod">
          <ac:chgData name="Kathrin Lara Schmidt" userId="cc86c408-88c1-4a0c-884d-b0583cf7cce4" providerId="ADAL" clId="{3616CED3-54ED-47E4-A83E-DBC375936561}" dt="2022-05-30T11:38:40.503" v="4152" actId="478"/>
          <ac:picMkLst>
            <pc:docMk/>
            <pc:sldMk cId="2631998992" sldId="2145709229"/>
            <ac:picMk id="6" creationId="{CAE339E0-8D00-3113-6550-08C84EE1915F}"/>
          </ac:picMkLst>
        </pc:picChg>
        <pc:picChg chg="add del mod">
          <ac:chgData name="Kathrin Lara Schmidt" userId="cc86c408-88c1-4a0c-884d-b0583cf7cce4" providerId="ADAL" clId="{3616CED3-54ED-47E4-A83E-DBC375936561}" dt="2022-05-30T11:38:42.695" v="4153" actId="478"/>
          <ac:picMkLst>
            <pc:docMk/>
            <pc:sldMk cId="2631998992" sldId="2145709229"/>
            <ac:picMk id="8" creationId="{244BEAA6-C605-AA4D-9703-13738BEA3273}"/>
          </ac:picMkLst>
        </pc:picChg>
      </pc:sldChg>
      <pc:sldChg chg="addSp delSp modSp add mod">
        <pc:chgData name="Kathrin Lara Schmidt" userId="cc86c408-88c1-4a0c-884d-b0583cf7cce4" providerId="ADAL" clId="{3616CED3-54ED-47E4-A83E-DBC375936561}" dt="2022-05-29T22:04:58.175" v="3647" actId="1037"/>
        <pc:sldMkLst>
          <pc:docMk/>
          <pc:sldMk cId="3413534623" sldId="2145709230"/>
        </pc:sldMkLst>
        <pc:spChg chg="del">
          <ac:chgData name="Kathrin Lara Schmidt" userId="cc86c408-88c1-4a0c-884d-b0583cf7cce4" providerId="ADAL" clId="{3616CED3-54ED-47E4-A83E-DBC375936561}" dt="2022-05-29T20:00:16.342" v="1152" actId="478"/>
          <ac:spMkLst>
            <pc:docMk/>
            <pc:sldMk cId="3413534623" sldId="2145709230"/>
            <ac:spMk id="20" creationId="{51BB46F9-6554-063D-8805-ECBA94F7D17C}"/>
          </ac:spMkLst>
        </pc:spChg>
        <pc:spChg chg="del">
          <ac:chgData name="Kathrin Lara Schmidt" userId="cc86c408-88c1-4a0c-884d-b0583cf7cce4" providerId="ADAL" clId="{3616CED3-54ED-47E4-A83E-DBC375936561}" dt="2022-05-29T20:00:16.342" v="1152" actId="478"/>
          <ac:spMkLst>
            <pc:docMk/>
            <pc:sldMk cId="3413534623" sldId="2145709230"/>
            <ac:spMk id="26" creationId="{E2E42E26-345E-06BB-CC3C-8EA77F70383C}"/>
          </ac:spMkLst>
        </pc:spChg>
        <pc:spChg chg="add mod topLvl">
          <ac:chgData name="Kathrin Lara Schmidt" userId="cc86c408-88c1-4a0c-884d-b0583cf7cce4" providerId="ADAL" clId="{3616CED3-54ED-47E4-A83E-DBC375936561}" dt="2022-05-29T22:04:49.030" v="3640" actId="1037"/>
          <ac:spMkLst>
            <pc:docMk/>
            <pc:sldMk cId="3413534623" sldId="2145709230"/>
            <ac:spMk id="27" creationId="{1C05098F-488A-D611-2DC2-F00C1E45B21E}"/>
          </ac:spMkLst>
        </pc:spChg>
        <pc:spChg chg="add del mod">
          <ac:chgData name="Kathrin Lara Schmidt" userId="cc86c408-88c1-4a0c-884d-b0583cf7cce4" providerId="ADAL" clId="{3616CED3-54ED-47E4-A83E-DBC375936561}" dt="2022-05-29T20:00:55.750" v="1157"/>
          <ac:spMkLst>
            <pc:docMk/>
            <pc:sldMk cId="3413534623" sldId="2145709230"/>
            <ac:spMk id="29" creationId="{3BBDAB02-4CDF-7893-046E-2D15CCBF34D3}"/>
          </ac:spMkLst>
        </pc:spChg>
        <pc:spChg chg="mod">
          <ac:chgData name="Kathrin Lara Schmidt" userId="cc86c408-88c1-4a0c-884d-b0583cf7cce4" providerId="ADAL" clId="{3616CED3-54ED-47E4-A83E-DBC375936561}" dt="2022-05-29T20:44:41.552" v="1177" actId="20577"/>
          <ac:spMkLst>
            <pc:docMk/>
            <pc:sldMk cId="3413534623" sldId="2145709230"/>
            <ac:spMk id="30" creationId="{37A31358-C64D-BA4B-B76C-08DCCEFFF2BF}"/>
          </ac:spMkLst>
        </pc:spChg>
        <pc:spChg chg="add mod topLvl">
          <ac:chgData name="Kathrin Lara Schmidt" userId="cc86c408-88c1-4a0c-884d-b0583cf7cce4" providerId="ADAL" clId="{3616CED3-54ED-47E4-A83E-DBC375936561}" dt="2022-05-29T21:08:28.608" v="1824" actId="164"/>
          <ac:spMkLst>
            <pc:docMk/>
            <pc:sldMk cId="3413534623" sldId="2145709230"/>
            <ac:spMk id="32" creationId="{582A8F27-832E-03C4-5DC5-D940B82CDC5A}"/>
          </ac:spMkLst>
        </pc:spChg>
        <pc:spChg chg="add mod">
          <ac:chgData name="Kathrin Lara Schmidt" userId="cc86c408-88c1-4a0c-884d-b0583cf7cce4" providerId="ADAL" clId="{3616CED3-54ED-47E4-A83E-DBC375936561}" dt="2022-05-29T22:04:49.030" v="3640" actId="1037"/>
          <ac:spMkLst>
            <pc:docMk/>
            <pc:sldMk cId="3413534623" sldId="2145709230"/>
            <ac:spMk id="35" creationId="{91EF81D5-FEC3-1975-A39B-406C029E0AF3}"/>
          </ac:spMkLst>
        </pc:spChg>
        <pc:spChg chg="add mod">
          <ac:chgData name="Kathrin Lara Schmidt" userId="cc86c408-88c1-4a0c-884d-b0583cf7cce4" providerId="ADAL" clId="{3616CED3-54ED-47E4-A83E-DBC375936561}" dt="2022-05-29T22:04:58.175" v="3647" actId="1037"/>
          <ac:spMkLst>
            <pc:docMk/>
            <pc:sldMk cId="3413534623" sldId="2145709230"/>
            <ac:spMk id="36" creationId="{F00EC16B-C378-9CAD-C942-4BBADF6C7DC1}"/>
          </ac:spMkLst>
        </pc:spChg>
        <pc:spChg chg="add mod">
          <ac:chgData name="Kathrin Lara Schmidt" userId="cc86c408-88c1-4a0c-884d-b0583cf7cce4" providerId="ADAL" clId="{3616CED3-54ED-47E4-A83E-DBC375936561}" dt="2022-05-29T22:04:58.175" v="3647" actId="1037"/>
          <ac:spMkLst>
            <pc:docMk/>
            <pc:sldMk cId="3413534623" sldId="2145709230"/>
            <ac:spMk id="37" creationId="{D7627BD3-53AE-E678-AC17-E91BAC8536AD}"/>
          </ac:spMkLst>
        </pc:spChg>
        <pc:spChg chg="add mod">
          <ac:chgData name="Kathrin Lara Schmidt" userId="cc86c408-88c1-4a0c-884d-b0583cf7cce4" providerId="ADAL" clId="{3616CED3-54ED-47E4-A83E-DBC375936561}" dt="2022-05-29T22:04:58.175" v="3647" actId="1037"/>
          <ac:spMkLst>
            <pc:docMk/>
            <pc:sldMk cId="3413534623" sldId="2145709230"/>
            <ac:spMk id="38" creationId="{A95709A9-7C26-D062-228F-A84E22E5E894}"/>
          </ac:spMkLst>
        </pc:spChg>
        <pc:spChg chg="add mod">
          <ac:chgData name="Kathrin Lara Schmidt" userId="cc86c408-88c1-4a0c-884d-b0583cf7cce4" providerId="ADAL" clId="{3616CED3-54ED-47E4-A83E-DBC375936561}" dt="2022-05-29T20:57:17.367" v="1611"/>
          <ac:spMkLst>
            <pc:docMk/>
            <pc:sldMk cId="3413534623" sldId="2145709230"/>
            <ac:spMk id="44" creationId="{D1482537-9EC5-DD93-8CE6-CA67B50BD92C}"/>
          </ac:spMkLst>
        </pc:spChg>
        <pc:spChg chg="add mod topLvl">
          <ac:chgData name="Kathrin Lara Schmidt" userId="cc86c408-88c1-4a0c-884d-b0583cf7cce4" providerId="ADAL" clId="{3616CED3-54ED-47E4-A83E-DBC375936561}" dt="2022-05-29T22:04:49.030" v="3640" actId="1037"/>
          <ac:spMkLst>
            <pc:docMk/>
            <pc:sldMk cId="3413534623" sldId="2145709230"/>
            <ac:spMk id="46" creationId="{6562052C-BB7E-B93C-7A4D-9F69A67F89C8}"/>
          </ac:spMkLst>
        </pc:spChg>
        <pc:spChg chg="add mod">
          <ac:chgData name="Kathrin Lara Schmidt" userId="cc86c408-88c1-4a0c-884d-b0583cf7cce4" providerId="ADAL" clId="{3616CED3-54ED-47E4-A83E-DBC375936561}" dt="2022-05-29T22:04:49.030" v="3640" actId="1037"/>
          <ac:spMkLst>
            <pc:docMk/>
            <pc:sldMk cId="3413534623" sldId="2145709230"/>
            <ac:spMk id="51" creationId="{975A721E-97DD-5B85-84CC-1510C673072F}"/>
          </ac:spMkLst>
        </pc:spChg>
        <pc:grpChg chg="del">
          <ac:chgData name="Kathrin Lara Schmidt" userId="cc86c408-88c1-4a0c-884d-b0583cf7cce4" providerId="ADAL" clId="{3616CED3-54ED-47E4-A83E-DBC375936561}" dt="2022-05-29T20:00:16.342" v="1152" actId="478"/>
          <ac:grpSpMkLst>
            <pc:docMk/>
            <pc:sldMk cId="3413534623" sldId="2145709230"/>
            <ac:grpSpMk id="13" creationId="{F8414DAC-70A6-DB5D-12E6-5268C0A86B08}"/>
          </ac:grpSpMkLst>
        </pc:grpChg>
        <pc:grpChg chg="del">
          <ac:chgData name="Kathrin Lara Schmidt" userId="cc86c408-88c1-4a0c-884d-b0583cf7cce4" providerId="ADAL" clId="{3616CED3-54ED-47E4-A83E-DBC375936561}" dt="2022-05-29T20:00:16.342" v="1152" actId="478"/>
          <ac:grpSpMkLst>
            <pc:docMk/>
            <pc:sldMk cId="3413534623" sldId="2145709230"/>
            <ac:grpSpMk id="21" creationId="{3EDB32C4-7C4B-F80C-C8B8-00715AC3FEA8}"/>
          </ac:grpSpMkLst>
        </pc:grpChg>
        <pc:grpChg chg="add del mod topLvl">
          <ac:chgData name="Kathrin Lara Schmidt" userId="cc86c408-88c1-4a0c-884d-b0583cf7cce4" providerId="ADAL" clId="{3616CED3-54ED-47E4-A83E-DBC375936561}" dt="2022-05-29T21:08:15.071" v="1822" actId="165"/>
          <ac:grpSpMkLst>
            <pc:docMk/>
            <pc:sldMk cId="3413534623" sldId="2145709230"/>
            <ac:grpSpMk id="45" creationId="{9DB1533C-6BA4-1C9B-76DB-D630EE5A16BE}"/>
          </ac:grpSpMkLst>
        </pc:grpChg>
        <pc:grpChg chg="add del mod">
          <ac:chgData name="Kathrin Lara Schmidt" userId="cc86c408-88c1-4a0c-884d-b0583cf7cce4" providerId="ADAL" clId="{3616CED3-54ED-47E4-A83E-DBC375936561}" dt="2022-05-29T21:08:06.314" v="1821" actId="165"/>
          <ac:grpSpMkLst>
            <pc:docMk/>
            <pc:sldMk cId="3413534623" sldId="2145709230"/>
            <ac:grpSpMk id="47" creationId="{3454603E-B6B2-236A-FB62-BFCF1347383F}"/>
          </ac:grpSpMkLst>
        </pc:grpChg>
        <pc:grpChg chg="add mod">
          <ac:chgData name="Kathrin Lara Schmidt" userId="cc86c408-88c1-4a0c-884d-b0583cf7cce4" providerId="ADAL" clId="{3616CED3-54ED-47E4-A83E-DBC375936561}" dt="2022-05-29T22:04:49.030" v="3640" actId="1037"/>
          <ac:grpSpMkLst>
            <pc:docMk/>
            <pc:sldMk cId="3413534623" sldId="2145709230"/>
            <ac:grpSpMk id="48" creationId="{7B15D0AD-C88F-55E4-1FEC-ADC3E88C9C2C}"/>
          </ac:grpSpMkLst>
        </pc:grpChg>
        <pc:graphicFrameChg chg="del">
          <ac:chgData name="Kathrin Lara Schmidt" userId="cc86c408-88c1-4a0c-884d-b0583cf7cce4" providerId="ADAL" clId="{3616CED3-54ED-47E4-A83E-DBC375936561}" dt="2022-05-29T20:00:16.342" v="1152" actId="478"/>
          <ac:graphicFrameMkLst>
            <pc:docMk/>
            <pc:sldMk cId="3413534623" sldId="2145709230"/>
            <ac:graphicFrameMk id="10" creationId="{89585C7A-0B45-FA98-6300-424133915E58}"/>
          </ac:graphicFrameMkLst>
        </pc:graphicFrameChg>
        <pc:graphicFrameChg chg="add del mod">
          <ac:chgData name="Kathrin Lara Schmidt" userId="cc86c408-88c1-4a0c-884d-b0583cf7cce4" providerId="ADAL" clId="{3616CED3-54ED-47E4-A83E-DBC375936561}" dt="2022-05-29T20:50:36.206" v="1392"/>
          <ac:graphicFrameMkLst>
            <pc:docMk/>
            <pc:sldMk cId="3413534623" sldId="2145709230"/>
            <ac:graphicFrameMk id="39" creationId="{D8EEA3A6-9011-337A-3E9F-12D038092467}"/>
          </ac:graphicFrameMkLst>
        </pc:graphicFrameChg>
        <pc:picChg chg="add del mod modCrop">
          <ac:chgData name="Kathrin Lara Schmidt" userId="cc86c408-88c1-4a0c-884d-b0583cf7cce4" providerId="ADAL" clId="{3616CED3-54ED-47E4-A83E-DBC375936561}" dt="2022-05-29T20:01:11.224" v="1159" actId="478"/>
          <ac:picMkLst>
            <pc:docMk/>
            <pc:sldMk cId="3413534623" sldId="2145709230"/>
            <ac:picMk id="4" creationId="{52AC530D-F7A7-9F41-07E5-01FCEA98FAB3}"/>
          </ac:picMkLst>
        </pc:picChg>
        <pc:picChg chg="add del mod modCrop">
          <ac:chgData name="Kathrin Lara Schmidt" userId="cc86c408-88c1-4a0c-884d-b0583cf7cce4" providerId="ADAL" clId="{3616CED3-54ED-47E4-A83E-DBC375936561}" dt="2022-05-29T20:01:44.204" v="1167" actId="478"/>
          <ac:picMkLst>
            <pc:docMk/>
            <pc:sldMk cId="3413534623" sldId="2145709230"/>
            <ac:picMk id="6" creationId="{DF528262-B3CD-C262-226B-EEA452E29BDA}"/>
          </ac:picMkLst>
        </pc:picChg>
        <pc:picChg chg="add del mod modCrop">
          <ac:chgData name="Kathrin Lara Schmidt" userId="cc86c408-88c1-4a0c-884d-b0583cf7cce4" providerId="ADAL" clId="{3616CED3-54ED-47E4-A83E-DBC375936561}" dt="2022-05-29T20:01:43.379" v="1166" actId="478"/>
          <ac:picMkLst>
            <pc:docMk/>
            <pc:sldMk cId="3413534623" sldId="2145709230"/>
            <ac:picMk id="11" creationId="{63BA88A8-3BB0-0575-91BE-6307229D0403}"/>
          </ac:picMkLst>
        </pc:picChg>
        <pc:picChg chg="add mod topLvl">
          <ac:chgData name="Kathrin Lara Schmidt" userId="cc86c408-88c1-4a0c-884d-b0583cf7cce4" providerId="ADAL" clId="{3616CED3-54ED-47E4-A83E-DBC375936561}" dt="2022-05-29T22:04:49.030" v="3640" actId="1037"/>
          <ac:picMkLst>
            <pc:docMk/>
            <pc:sldMk cId="3413534623" sldId="2145709230"/>
            <ac:picMk id="31" creationId="{28BC01FF-A863-3EB9-4B99-9A3CE63693E6}"/>
          </ac:picMkLst>
        </pc:picChg>
        <pc:picChg chg="add del mod">
          <ac:chgData name="Kathrin Lara Schmidt" userId="cc86c408-88c1-4a0c-884d-b0583cf7cce4" providerId="ADAL" clId="{3616CED3-54ED-47E4-A83E-DBC375936561}" dt="2022-05-29T20:54:06.924" v="1537" actId="478"/>
          <ac:picMkLst>
            <pc:docMk/>
            <pc:sldMk cId="3413534623" sldId="2145709230"/>
            <ac:picMk id="41" creationId="{B6158C72-DE5B-E7BB-8207-E27587D98D64}"/>
          </ac:picMkLst>
        </pc:picChg>
        <pc:picChg chg="add del mod">
          <ac:chgData name="Kathrin Lara Schmidt" userId="cc86c408-88c1-4a0c-884d-b0583cf7cce4" providerId="ADAL" clId="{3616CED3-54ED-47E4-A83E-DBC375936561}" dt="2022-05-29T20:56:15.770" v="1609" actId="478"/>
          <ac:picMkLst>
            <pc:docMk/>
            <pc:sldMk cId="3413534623" sldId="2145709230"/>
            <ac:picMk id="43" creationId="{4CCD449B-B603-678E-4FF0-F3FD6550D447}"/>
          </ac:picMkLst>
        </pc:picChg>
        <pc:picChg chg="add mod">
          <ac:chgData name="Kathrin Lara Schmidt" userId="cc86c408-88c1-4a0c-884d-b0583cf7cce4" providerId="ADAL" clId="{3616CED3-54ED-47E4-A83E-DBC375936561}" dt="2022-05-29T22:04:49.030" v="3640" actId="1037"/>
          <ac:picMkLst>
            <pc:docMk/>
            <pc:sldMk cId="3413534623" sldId="2145709230"/>
            <ac:picMk id="50" creationId="{8DFA4051-7657-5625-B4FB-B636147A2D7E}"/>
          </ac:picMkLst>
        </pc:picChg>
        <pc:picChg chg="add mod modCrop">
          <ac:chgData name="Kathrin Lara Schmidt" userId="cc86c408-88c1-4a0c-884d-b0583cf7cce4" providerId="ADAL" clId="{3616CED3-54ED-47E4-A83E-DBC375936561}" dt="2022-05-29T22:04:49.030" v="3640" actId="1037"/>
          <ac:picMkLst>
            <pc:docMk/>
            <pc:sldMk cId="3413534623" sldId="2145709230"/>
            <ac:picMk id="52" creationId="{2B9704E1-4D8B-627B-7C92-04F65C55DCC8}"/>
          </ac:picMkLst>
        </pc:picChg>
        <pc:picChg chg="add mod modCrop">
          <ac:chgData name="Kathrin Lara Schmidt" userId="cc86c408-88c1-4a0c-884d-b0583cf7cce4" providerId="ADAL" clId="{3616CED3-54ED-47E4-A83E-DBC375936561}" dt="2022-05-29T22:04:49.030" v="3640" actId="1037"/>
          <ac:picMkLst>
            <pc:docMk/>
            <pc:sldMk cId="3413534623" sldId="2145709230"/>
            <ac:picMk id="53" creationId="{F7D0BA03-94DE-5697-5E01-41AB1FAB3B96}"/>
          </ac:picMkLst>
        </pc:picChg>
        <pc:cxnChg chg="add mod topLvl">
          <ac:chgData name="Kathrin Lara Schmidt" userId="cc86c408-88c1-4a0c-884d-b0583cf7cce4" providerId="ADAL" clId="{3616CED3-54ED-47E4-A83E-DBC375936561}" dt="2022-05-29T21:08:28.608" v="1824" actId="164"/>
          <ac:cxnSpMkLst>
            <pc:docMk/>
            <pc:sldMk cId="3413534623" sldId="2145709230"/>
            <ac:cxnSpMk id="33" creationId="{7C549E3F-E7ED-1698-6950-C6E20EC9DB09}"/>
          </ac:cxnSpMkLst>
        </pc:cxnChg>
        <pc:cxnChg chg="add mod topLvl">
          <ac:chgData name="Kathrin Lara Schmidt" userId="cc86c408-88c1-4a0c-884d-b0583cf7cce4" providerId="ADAL" clId="{3616CED3-54ED-47E4-A83E-DBC375936561}" dt="2022-05-29T21:08:28.608" v="1824" actId="164"/>
          <ac:cxnSpMkLst>
            <pc:docMk/>
            <pc:sldMk cId="3413534623" sldId="2145709230"/>
            <ac:cxnSpMk id="34" creationId="{58D192B4-41E1-BE7B-5550-F31D8BA965B2}"/>
          </ac:cxnSpMkLst>
        </pc:cxnChg>
      </pc:sldChg>
    </pc:docChg>
  </pc:docChgLst>
  <pc:docChgLst>
    <pc:chgData name="Kathrin Lara Schmidt" userId="cc86c408-88c1-4a0c-884d-b0583cf7cce4" providerId="ADAL" clId="{A6581867-C849-4C47-AB5E-D049DEBE140D}"/>
    <pc:docChg chg="undo redo custSel addSld delSld modSld sldOrd">
      <pc:chgData name="Kathrin Lara Schmidt" userId="cc86c408-88c1-4a0c-884d-b0583cf7cce4" providerId="ADAL" clId="{A6581867-C849-4C47-AB5E-D049DEBE140D}" dt="2022-05-22T23:15:46.963" v="4129" actId="113"/>
      <pc:docMkLst>
        <pc:docMk/>
      </pc:docMkLst>
      <pc:sldChg chg="modSp mod">
        <pc:chgData name="Kathrin Lara Schmidt" userId="cc86c408-88c1-4a0c-884d-b0583cf7cce4" providerId="ADAL" clId="{A6581867-C849-4C47-AB5E-D049DEBE140D}" dt="2022-05-19T20:49:37.781" v="1243" actId="1076"/>
        <pc:sldMkLst>
          <pc:docMk/>
          <pc:sldMk cId="3872981918" sldId="2145709193"/>
        </pc:sldMkLst>
        <pc:spChg chg="mod">
          <ac:chgData name="Kathrin Lara Schmidt" userId="cc86c408-88c1-4a0c-884d-b0583cf7cce4" providerId="ADAL" clId="{A6581867-C849-4C47-AB5E-D049DEBE140D}" dt="2022-05-19T20:49:37.781" v="1243" actId="1076"/>
          <ac:spMkLst>
            <pc:docMk/>
            <pc:sldMk cId="3872981918" sldId="2145709193"/>
            <ac:spMk id="40" creationId="{693BB84A-8160-8561-119D-0885C156D4C5}"/>
          </ac:spMkLst>
        </pc:spChg>
      </pc:sldChg>
      <pc:sldChg chg="modSp mod">
        <pc:chgData name="Kathrin Lara Schmidt" userId="cc86c408-88c1-4a0c-884d-b0583cf7cce4" providerId="ADAL" clId="{A6581867-C849-4C47-AB5E-D049DEBE140D}" dt="2022-05-20T11:57:11.150" v="2873" actId="20577"/>
        <pc:sldMkLst>
          <pc:docMk/>
          <pc:sldMk cId="3823892125" sldId="2145709200"/>
        </pc:sldMkLst>
        <pc:spChg chg="mod">
          <ac:chgData name="Kathrin Lara Schmidt" userId="cc86c408-88c1-4a0c-884d-b0583cf7cce4" providerId="ADAL" clId="{A6581867-C849-4C47-AB5E-D049DEBE140D}" dt="2022-05-20T11:57:11.150" v="2873" actId="20577"/>
          <ac:spMkLst>
            <pc:docMk/>
            <pc:sldMk cId="3823892125" sldId="2145709200"/>
            <ac:spMk id="29" creationId="{B2D2609A-5951-3C4F-9E53-4B325EA41E04}"/>
          </ac:spMkLst>
        </pc:spChg>
      </pc:sldChg>
      <pc:sldChg chg="addSp delSp modSp mod modTransition">
        <pc:chgData name="Kathrin Lara Schmidt" userId="cc86c408-88c1-4a0c-884d-b0583cf7cce4" providerId="ADAL" clId="{A6581867-C849-4C47-AB5E-D049DEBE140D}" dt="2022-05-20T11:39:08.036" v="2326"/>
        <pc:sldMkLst>
          <pc:docMk/>
          <pc:sldMk cId="775632621" sldId="2145709201"/>
        </pc:sldMkLst>
        <pc:spChg chg="mod">
          <ac:chgData name="Kathrin Lara Schmidt" userId="cc86c408-88c1-4a0c-884d-b0583cf7cce4" providerId="ADAL" clId="{A6581867-C849-4C47-AB5E-D049DEBE140D}" dt="2022-05-19T18:55:05.714" v="250" actId="1076"/>
          <ac:spMkLst>
            <pc:docMk/>
            <pc:sldMk cId="775632621" sldId="2145709201"/>
            <ac:spMk id="5" creationId="{F36C395D-236F-3D46-9B82-6021C1FC5BE6}"/>
          </ac:spMkLst>
        </pc:spChg>
        <pc:spChg chg="del">
          <ac:chgData name="Kathrin Lara Schmidt" userId="cc86c408-88c1-4a0c-884d-b0583cf7cce4" providerId="ADAL" clId="{A6581867-C849-4C47-AB5E-D049DEBE140D}" dt="2022-05-19T18:43:13.404" v="74" actId="478"/>
          <ac:spMkLst>
            <pc:docMk/>
            <pc:sldMk cId="775632621" sldId="2145709201"/>
            <ac:spMk id="6" creationId="{1AAB676C-30D3-1B46-3B2C-FCF65D31F4C4}"/>
          </ac:spMkLst>
        </pc:spChg>
        <pc:spChg chg="add mod">
          <ac:chgData name="Kathrin Lara Schmidt" userId="cc86c408-88c1-4a0c-884d-b0583cf7cce4" providerId="ADAL" clId="{A6581867-C849-4C47-AB5E-D049DEBE140D}" dt="2022-05-19T18:56:06.376" v="266" actId="14100"/>
          <ac:spMkLst>
            <pc:docMk/>
            <pc:sldMk cId="775632621" sldId="2145709201"/>
            <ac:spMk id="10" creationId="{4693D9E4-A748-0941-AB81-E5DD882C4A2D}"/>
          </ac:spMkLst>
        </pc:spChg>
        <pc:spChg chg="add mod">
          <ac:chgData name="Kathrin Lara Schmidt" userId="cc86c408-88c1-4a0c-884d-b0583cf7cce4" providerId="ADAL" clId="{A6581867-C849-4C47-AB5E-D049DEBE140D}" dt="2022-05-19T18:55:07.663" v="253"/>
          <ac:spMkLst>
            <pc:docMk/>
            <pc:sldMk cId="775632621" sldId="2145709201"/>
            <ac:spMk id="11" creationId="{19BC212D-F58F-7940-9412-C5EE31C297AA}"/>
          </ac:spMkLst>
        </pc:spChg>
        <pc:spChg chg="add mod">
          <ac:chgData name="Kathrin Lara Schmidt" userId="cc86c408-88c1-4a0c-884d-b0583cf7cce4" providerId="ADAL" clId="{A6581867-C849-4C47-AB5E-D049DEBE140D}" dt="2022-05-19T18:56:01.084" v="265" actId="1076"/>
          <ac:spMkLst>
            <pc:docMk/>
            <pc:sldMk cId="775632621" sldId="2145709201"/>
            <ac:spMk id="12" creationId="{19BC212D-F58F-7940-9412-C5EE31C297AA}"/>
          </ac:spMkLst>
        </pc:spChg>
        <pc:spChg chg="add mod">
          <ac:chgData name="Kathrin Lara Schmidt" userId="cc86c408-88c1-4a0c-884d-b0583cf7cce4" providerId="ADAL" clId="{A6581867-C849-4C47-AB5E-D049DEBE140D}" dt="2022-05-19T18:55:57.579" v="264" actId="1076"/>
          <ac:spMkLst>
            <pc:docMk/>
            <pc:sldMk cId="775632621" sldId="2145709201"/>
            <ac:spMk id="13" creationId="{04EA4BD0-9E08-F145-827E-BDEE8FCE91C4}"/>
          </ac:spMkLst>
        </pc:spChg>
        <pc:spChg chg="add mod">
          <ac:chgData name="Kathrin Lara Schmidt" userId="cc86c408-88c1-4a0c-884d-b0583cf7cce4" providerId="ADAL" clId="{A6581867-C849-4C47-AB5E-D049DEBE140D}" dt="2022-05-19T18:56:50.922" v="296" actId="1037"/>
          <ac:spMkLst>
            <pc:docMk/>
            <pc:sldMk cId="775632621" sldId="2145709201"/>
            <ac:spMk id="14" creationId="{39D0A744-E32D-4D41-A866-8787252F9E28}"/>
          </ac:spMkLst>
        </pc:spChg>
        <pc:spChg chg="add mod">
          <ac:chgData name="Kathrin Lara Schmidt" userId="cc86c408-88c1-4a0c-884d-b0583cf7cce4" providerId="ADAL" clId="{A6581867-C849-4C47-AB5E-D049DEBE140D}" dt="2022-05-19T18:59:43.926" v="369" actId="1076"/>
          <ac:spMkLst>
            <pc:docMk/>
            <pc:sldMk cId="775632621" sldId="2145709201"/>
            <ac:spMk id="17" creationId="{E063BA23-13EB-C295-6AA1-3395CCB44067}"/>
          </ac:spMkLst>
        </pc:spChg>
        <pc:spChg chg="mod">
          <ac:chgData name="Kathrin Lara Schmidt" userId="cc86c408-88c1-4a0c-884d-b0583cf7cce4" providerId="ADAL" clId="{A6581867-C849-4C47-AB5E-D049DEBE140D}" dt="2022-05-19T18:38:39.439" v="22" actId="20577"/>
          <ac:spMkLst>
            <pc:docMk/>
            <pc:sldMk cId="775632621" sldId="2145709201"/>
            <ac:spMk id="28" creationId="{1707D6E5-FBC2-4348-8CCB-0F1B8C5B4AC0}"/>
          </ac:spMkLst>
        </pc:spChg>
        <pc:spChg chg="mod">
          <ac:chgData name="Kathrin Lara Schmidt" userId="cc86c408-88c1-4a0c-884d-b0583cf7cce4" providerId="ADAL" clId="{A6581867-C849-4C47-AB5E-D049DEBE140D}" dt="2022-05-20T11:39:08.036" v="2326"/>
          <ac:spMkLst>
            <pc:docMk/>
            <pc:sldMk cId="775632621" sldId="2145709201"/>
            <ac:spMk id="29" creationId="{B2D2609A-5951-3C4F-9E53-4B325EA41E04}"/>
          </ac:spMkLst>
        </pc:spChg>
        <pc:spChg chg="mod">
          <ac:chgData name="Kathrin Lara Schmidt" userId="cc86c408-88c1-4a0c-884d-b0583cf7cce4" providerId="ADAL" clId="{A6581867-C849-4C47-AB5E-D049DEBE140D}" dt="2022-05-19T18:42:27.405" v="73" actId="403"/>
          <ac:spMkLst>
            <pc:docMk/>
            <pc:sldMk cId="775632621" sldId="2145709201"/>
            <ac:spMk id="30" creationId="{37A31358-C64D-BA4B-B76C-08DCCEFFF2BF}"/>
          </ac:spMkLst>
        </pc:spChg>
        <pc:graphicFrameChg chg="add mod modGraphic">
          <ac:chgData name="Kathrin Lara Schmidt" userId="cc86c408-88c1-4a0c-884d-b0583cf7cce4" providerId="ADAL" clId="{A6581867-C849-4C47-AB5E-D049DEBE140D}" dt="2022-05-19T18:57:00.132" v="297" actId="1076"/>
          <ac:graphicFrameMkLst>
            <pc:docMk/>
            <pc:sldMk cId="775632621" sldId="2145709201"/>
            <ac:graphicFrameMk id="2" creationId="{92548037-381F-DEF4-61A5-62618C114173}"/>
          </ac:graphicFrameMkLst>
        </pc:graphicFrameChg>
        <pc:picChg chg="add del mod">
          <ac:chgData name="Kathrin Lara Schmidt" userId="cc86c408-88c1-4a0c-884d-b0583cf7cce4" providerId="ADAL" clId="{A6581867-C849-4C47-AB5E-D049DEBE140D}" dt="2022-05-19T18:54:10.390" v="244" actId="478"/>
          <ac:picMkLst>
            <pc:docMk/>
            <pc:sldMk cId="775632621" sldId="2145709201"/>
            <ac:picMk id="4" creationId="{03E3AB2A-0248-566A-0DBF-CE3E9D65279D}"/>
          </ac:picMkLst>
        </pc:picChg>
        <pc:picChg chg="add mod">
          <ac:chgData name="Kathrin Lara Schmidt" userId="cc86c408-88c1-4a0c-884d-b0583cf7cce4" providerId="ADAL" clId="{A6581867-C849-4C47-AB5E-D049DEBE140D}" dt="2022-05-19T18:59:48.907" v="370" actId="1076"/>
          <ac:picMkLst>
            <pc:docMk/>
            <pc:sldMk cId="775632621" sldId="2145709201"/>
            <ac:picMk id="8" creationId="{C6C69613-BE28-20E1-139C-B4EB4044B802}"/>
          </ac:picMkLst>
        </pc:picChg>
        <pc:cxnChg chg="add mod">
          <ac:chgData name="Kathrin Lara Schmidt" userId="cc86c408-88c1-4a0c-884d-b0583cf7cce4" providerId="ADAL" clId="{A6581867-C849-4C47-AB5E-D049DEBE140D}" dt="2022-05-19T18:59:43.926" v="369" actId="1076"/>
          <ac:cxnSpMkLst>
            <pc:docMk/>
            <pc:sldMk cId="775632621" sldId="2145709201"/>
            <ac:cxnSpMk id="18" creationId="{88CDA319-D1CD-5567-4D1D-8DA206D1F47F}"/>
          </ac:cxnSpMkLst>
        </pc:cxnChg>
        <pc:cxnChg chg="add mod">
          <ac:chgData name="Kathrin Lara Schmidt" userId="cc86c408-88c1-4a0c-884d-b0583cf7cce4" providerId="ADAL" clId="{A6581867-C849-4C47-AB5E-D049DEBE140D}" dt="2022-05-19T18:59:43.926" v="369" actId="1076"/>
          <ac:cxnSpMkLst>
            <pc:docMk/>
            <pc:sldMk cId="775632621" sldId="2145709201"/>
            <ac:cxnSpMk id="19" creationId="{7B33B9FC-7E41-80B5-A258-F848E8749B6E}"/>
          </ac:cxnSpMkLst>
        </pc:cxnChg>
      </pc:sldChg>
      <pc:sldChg chg="addSp delSp modSp mod">
        <pc:chgData name="Kathrin Lara Schmidt" userId="cc86c408-88c1-4a0c-884d-b0583cf7cce4" providerId="ADAL" clId="{A6581867-C849-4C47-AB5E-D049DEBE140D}" dt="2022-05-20T11:55:10.613" v="2868" actId="20577"/>
        <pc:sldMkLst>
          <pc:docMk/>
          <pc:sldMk cId="1980164139" sldId="2145709202"/>
        </pc:sldMkLst>
        <pc:spChg chg="add del mod">
          <ac:chgData name="Kathrin Lara Schmidt" userId="cc86c408-88c1-4a0c-884d-b0583cf7cce4" providerId="ADAL" clId="{A6581867-C849-4C47-AB5E-D049DEBE140D}" dt="2022-05-19T21:32:12.784" v="1997" actId="478"/>
          <ac:spMkLst>
            <pc:docMk/>
            <pc:sldMk cId="1980164139" sldId="2145709202"/>
            <ac:spMk id="2" creationId="{2460557A-CE2D-65E1-AA96-3A2E1F3B5FC6}"/>
          </ac:spMkLst>
        </pc:spChg>
        <pc:spChg chg="add del mod">
          <ac:chgData name="Kathrin Lara Schmidt" userId="cc86c408-88c1-4a0c-884d-b0583cf7cce4" providerId="ADAL" clId="{A6581867-C849-4C47-AB5E-D049DEBE140D}" dt="2022-05-19T21:44:07.826" v="2083" actId="478"/>
          <ac:spMkLst>
            <pc:docMk/>
            <pc:sldMk cId="1980164139" sldId="2145709202"/>
            <ac:spMk id="3" creationId="{CBE46113-7C28-32A5-AD32-1FF06AC28B84}"/>
          </ac:spMkLst>
        </pc:spChg>
        <pc:spChg chg="del">
          <ac:chgData name="Kathrin Lara Schmidt" userId="cc86c408-88c1-4a0c-884d-b0583cf7cce4" providerId="ADAL" clId="{A6581867-C849-4C47-AB5E-D049DEBE140D}" dt="2022-05-19T21:28:19.314" v="1887" actId="478"/>
          <ac:spMkLst>
            <pc:docMk/>
            <pc:sldMk cId="1980164139" sldId="2145709202"/>
            <ac:spMk id="5" creationId="{F36C395D-236F-3D46-9B82-6021C1FC5BE6}"/>
          </ac:spMkLst>
        </pc:spChg>
        <pc:spChg chg="del">
          <ac:chgData name="Kathrin Lara Schmidt" userId="cc86c408-88c1-4a0c-884d-b0583cf7cce4" providerId="ADAL" clId="{A6581867-C849-4C47-AB5E-D049DEBE140D}" dt="2022-05-19T18:37:45.791" v="0" actId="478"/>
          <ac:spMkLst>
            <pc:docMk/>
            <pc:sldMk cId="1980164139" sldId="2145709202"/>
            <ac:spMk id="6" creationId="{1AAB676C-30D3-1B46-3B2C-FCF65D31F4C4}"/>
          </ac:spMkLst>
        </pc:spChg>
        <pc:spChg chg="add mod">
          <ac:chgData name="Kathrin Lara Schmidt" userId="cc86c408-88c1-4a0c-884d-b0583cf7cce4" providerId="ADAL" clId="{A6581867-C849-4C47-AB5E-D049DEBE140D}" dt="2022-05-20T11:43:01.658" v="2454" actId="14100"/>
          <ac:spMkLst>
            <pc:docMk/>
            <pc:sldMk cId="1980164139" sldId="2145709202"/>
            <ac:spMk id="9" creationId="{4A0E5816-691A-3F7D-BF41-621CA16B9511}"/>
          </ac:spMkLst>
        </pc:spChg>
        <pc:spChg chg="add mod">
          <ac:chgData name="Kathrin Lara Schmidt" userId="cc86c408-88c1-4a0c-884d-b0583cf7cce4" providerId="ADAL" clId="{A6581867-C849-4C47-AB5E-D049DEBE140D}" dt="2022-05-20T11:43:23.846" v="2464" actId="1076"/>
          <ac:spMkLst>
            <pc:docMk/>
            <pc:sldMk cId="1980164139" sldId="2145709202"/>
            <ac:spMk id="10" creationId="{D2296B29-8125-CE4B-2693-3CD7FF62C812}"/>
          </ac:spMkLst>
        </pc:spChg>
        <pc:spChg chg="add mod ord">
          <ac:chgData name="Kathrin Lara Schmidt" userId="cc86c408-88c1-4a0c-884d-b0583cf7cce4" providerId="ADAL" clId="{A6581867-C849-4C47-AB5E-D049DEBE140D}" dt="2022-05-20T11:43:14.196" v="2462" actId="170"/>
          <ac:spMkLst>
            <pc:docMk/>
            <pc:sldMk cId="1980164139" sldId="2145709202"/>
            <ac:spMk id="11" creationId="{B6CDA842-7B34-6ABC-EE8C-3400B61C267F}"/>
          </ac:spMkLst>
        </pc:spChg>
        <pc:spChg chg="add mod">
          <ac:chgData name="Kathrin Lara Schmidt" userId="cc86c408-88c1-4a0c-884d-b0583cf7cce4" providerId="ADAL" clId="{A6581867-C849-4C47-AB5E-D049DEBE140D}" dt="2022-05-20T11:47:00.100" v="2525" actId="1037"/>
          <ac:spMkLst>
            <pc:docMk/>
            <pc:sldMk cId="1980164139" sldId="2145709202"/>
            <ac:spMk id="12" creationId="{D09AB057-DD6B-4098-C5D6-EB549C43D795}"/>
          </ac:spMkLst>
        </pc:spChg>
        <pc:spChg chg="add del mod">
          <ac:chgData name="Kathrin Lara Schmidt" userId="cc86c408-88c1-4a0c-884d-b0583cf7cce4" providerId="ADAL" clId="{A6581867-C849-4C47-AB5E-D049DEBE140D}" dt="2022-05-19T21:43:52.485" v="2078" actId="478"/>
          <ac:spMkLst>
            <pc:docMk/>
            <pc:sldMk cId="1980164139" sldId="2145709202"/>
            <ac:spMk id="13" creationId="{B8F88C6B-520B-F76C-6657-CE5D65FCEF62}"/>
          </ac:spMkLst>
        </pc:spChg>
        <pc:spChg chg="mod">
          <ac:chgData name="Kathrin Lara Schmidt" userId="cc86c408-88c1-4a0c-884d-b0583cf7cce4" providerId="ADAL" clId="{A6581867-C849-4C47-AB5E-D049DEBE140D}" dt="2022-05-19T21:07:08.386" v="1692" actId="20577"/>
          <ac:spMkLst>
            <pc:docMk/>
            <pc:sldMk cId="1980164139" sldId="2145709202"/>
            <ac:spMk id="28" creationId="{1707D6E5-FBC2-4348-8CCB-0F1B8C5B4AC0}"/>
          </ac:spMkLst>
        </pc:spChg>
        <pc:spChg chg="mod">
          <ac:chgData name="Kathrin Lara Schmidt" userId="cc86c408-88c1-4a0c-884d-b0583cf7cce4" providerId="ADAL" clId="{A6581867-C849-4C47-AB5E-D049DEBE140D}" dt="2022-05-20T11:38:07.509" v="2273" actId="20577"/>
          <ac:spMkLst>
            <pc:docMk/>
            <pc:sldMk cId="1980164139" sldId="2145709202"/>
            <ac:spMk id="29" creationId="{B2D2609A-5951-3C4F-9E53-4B325EA41E04}"/>
          </ac:spMkLst>
        </pc:spChg>
        <pc:spChg chg="mod">
          <ac:chgData name="Kathrin Lara Schmidt" userId="cc86c408-88c1-4a0c-884d-b0583cf7cce4" providerId="ADAL" clId="{A6581867-C849-4C47-AB5E-D049DEBE140D}" dt="2022-05-19T21:40:50.902" v="2053" actId="20577"/>
          <ac:spMkLst>
            <pc:docMk/>
            <pc:sldMk cId="1980164139" sldId="2145709202"/>
            <ac:spMk id="30" creationId="{37A31358-C64D-BA4B-B76C-08DCCEFFF2BF}"/>
          </ac:spMkLst>
        </pc:spChg>
        <pc:graphicFrameChg chg="add del mod modGraphic">
          <ac:chgData name="Kathrin Lara Schmidt" userId="cc86c408-88c1-4a0c-884d-b0583cf7cce4" providerId="ADAL" clId="{A6581867-C849-4C47-AB5E-D049DEBE140D}" dt="2022-05-19T21:54:01.467" v="2128" actId="478"/>
          <ac:graphicFrameMkLst>
            <pc:docMk/>
            <pc:sldMk cId="1980164139" sldId="2145709202"/>
            <ac:graphicFrameMk id="19" creationId="{BF6445BF-1314-D9B6-E3D9-CFC1923AA2FA}"/>
          </ac:graphicFrameMkLst>
        </pc:graphicFrameChg>
        <pc:graphicFrameChg chg="add mod modGraphic">
          <ac:chgData name="Kathrin Lara Schmidt" userId="cc86c408-88c1-4a0c-884d-b0583cf7cce4" providerId="ADAL" clId="{A6581867-C849-4C47-AB5E-D049DEBE140D}" dt="2022-05-20T11:55:10.613" v="2868" actId="20577"/>
          <ac:graphicFrameMkLst>
            <pc:docMk/>
            <pc:sldMk cId="1980164139" sldId="2145709202"/>
            <ac:graphicFrameMk id="20" creationId="{E3461A7C-05EC-9AB3-D3AF-2F71363DF437}"/>
          </ac:graphicFrameMkLst>
        </pc:graphicFrameChg>
        <pc:picChg chg="add del mod">
          <ac:chgData name="Kathrin Lara Schmidt" userId="cc86c408-88c1-4a0c-884d-b0583cf7cce4" providerId="ADAL" clId="{A6581867-C849-4C47-AB5E-D049DEBE140D}" dt="2022-05-19T19:38:31.864" v="390" actId="478"/>
          <ac:picMkLst>
            <pc:docMk/>
            <pc:sldMk cId="1980164139" sldId="2145709202"/>
            <ac:picMk id="3" creationId="{75282AF9-CE42-887E-59A8-B3FFCC3E0FFA}"/>
          </ac:picMkLst>
        </pc:picChg>
        <pc:picChg chg="add del mod modCrop">
          <ac:chgData name="Kathrin Lara Schmidt" userId="cc86c408-88c1-4a0c-884d-b0583cf7cce4" providerId="ADAL" clId="{A6581867-C849-4C47-AB5E-D049DEBE140D}" dt="2022-05-19T21:34:32.082" v="2009" actId="478"/>
          <ac:picMkLst>
            <pc:docMk/>
            <pc:sldMk cId="1980164139" sldId="2145709202"/>
            <ac:picMk id="6" creationId="{C04B74BB-C341-5D74-2AEF-3DBD470D2DE8}"/>
          </ac:picMkLst>
        </pc:picChg>
        <pc:picChg chg="add del mod modCrop">
          <ac:chgData name="Kathrin Lara Schmidt" userId="cc86c408-88c1-4a0c-884d-b0583cf7cce4" providerId="ADAL" clId="{A6581867-C849-4C47-AB5E-D049DEBE140D}" dt="2022-05-19T21:34:31.397" v="2008" actId="478"/>
          <ac:picMkLst>
            <pc:docMk/>
            <pc:sldMk cId="1980164139" sldId="2145709202"/>
            <ac:picMk id="7" creationId="{0D74EC56-B710-7403-2B2B-4655F872FF6B}"/>
          </ac:picMkLst>
        </pc:picChg>
        <pc:picChg chg="add del mod">
          <ac:chgData name="Kathrin Lara Schmidt" userId="cc86c408-88c1-4a0c-884d-b0583cf7cce4" providerId="ADAL" clId="{A6581867-C849-4C47-AB5E-D049DEBE140D}" dt="2022-05-19T18:37:54.429" v="4" actId="478"/>
          <ac:picMkLst>
            <pc:docMk/>
            <pc:sldMk cId="1980164139" sldId="2145709202"/>
            <ac:picMk id="7" creationId="{5D22B968-FEBF-EEA4-7114-829892A63591}"/>
          </ac:picMkLst>
        </pc:picChg>
        <pc:picChg chg="add del mod modCrop">
          <ac:chgData name="Kathrin Lara Schmidt" userId="cc86c408-88c1-4a0c-884d-b0583cf7cce4" providerId="ADAL" clId="{A6581867-C849-4C47-AB5E-D049DEBE140D}" dt="2022-05-19T21:41:50.329" v="2060" actId="478"/>
          <ac:picMkLst>
            <pc:docMk/>
            <pc:sldMk cId="1980164139" sldId="2145709202"/>
            <ac:picMk id="8" creationId="{F5CD6C08-37ED-5F8D-4FCA-924BE2DD355C}"/>
          </ac:picMkLst>
        </pc:picChg>
        <pc:picChg chg="add del mod">
          <ac:chgData name="Kathrin Lara Schmidt" userId="cc86c408-88c1-4a0c-884d-b0583cf7cce4" providerId="ADAL" clId="{A6581867-C849-4C47-AB5E-D049DEBE140D}" dt="2022-05-19T21:39:51.738" v="2015" actId="22"/>
          <ac:picMkLst>
            <pc:docMk/>
            <pc:sldMk cId="1980164139" sldId="2145709202"/>
            <ac:picMk id="10" creationId="{97970B41-CCF8-1183-84E6-777BB07BA97C}"/>
          </ac:picMkLst>
        </pc:picChg>
        <pc:picChg chg="add del mod">
          <ac:chgData name="Kathrin Lara Schmidt" userId="cc86c408-88c1-4a0c-884d-b0583cf7cce4" providerId="ADAL" clId="{A6581867-C849-4C47-AB5E-D049DEBE140D}" dt="2022-05-19T21:44:07.826" v="2083" actId="478"/>
          <ac:picMkLst>
            <pc:docMk/>
            <pc:sldMk cId="1980164139" sldId="2145709202"/>
            <ac:picMk id="12" creationId="{3FFDCFE6-C7DE-642E-FE1C-70BDE552081D}"/>
          </ac:picMkLst>
        </pc:picChg>
        <pc:picChg chg="add del mod">
          <ac:chgData name="Kathrin Lara Schmidt" userId="cc86c408-88c1-4a0c-884d-b0583cf7cce4" providerId="ADAL" clId="{A6581867-C849-4C47-AB5E-D049DEBE140D}" dt="2022-05-19T21:44:07.826" v="2083" actId="478"/>
          <ac:picMkLst>
            <pc:docMk/>
            <pc:sldMk cId="1980164139" sldId="2145709202"/>
            <ac:picMk id="14" creationId="{C8ACB179-C246-8DA4-C406-1BA04D4F596E}"/>
          </ac:picMkLst>
        </pc:picChg>
        <pc:picChg chg="add del mod">
          <ac:chgData name="Kathrin Lara Schmidt" userId="cc86c408-88c1-4a0c-884d-b0583cf7cce4" providerId="ADAL" clId="{A6581867-C849-4C47-AB5E-D049DEBE140D}" dt="2022-05-19T21:44:02.481" v="2082" actId="478"/>
          <ac:picMkLst>
            <pc:docMk/>
            <pc:sldMk cId="1980164139" sldId="2145709202"/>
            <ac:picMk id="16" creationId="{D675A933-321E-B43A-D5DC-BBDAE58705EB}"/>
          </ac:picMkLst>
        </pc:picChg>
        <pc:picChg chg="add mod ord modCrop">
          <ac:chgData name="Kathrin Lara Schmidt" userId="cc86c408-88c1-4a0c-884d-b0583cf7cce4" providerId="ADAL" clId="{A6581867-C849-4C47-AB5E-D049DEBE140D}" dt="2022-05-20T11:43:17.521" v="2463" actId="166"/>
          <ac:picMkLst>
            <pc:docMk/>
            <pc:sldMk cId="1980164139" sldId="2145709202"/>
            <ac:picMk id="18" creationId="{9EB73C55-1116-5A62-CB16-DBBF8B67FCA3}"/>
          </ac:picMkLst>
        </pc:picChg>
        <pc:picChg chg="add mod">
          <ac:chgData name="Kathrin Lara Schmidt" userId="cc86c408-88c1-4a0c-884d-b0583cf7cce4" providerId="ADAL" clId="{A6581867-C849-4C47-AB5E-D049DEBE140D}" dt="2022-05-19T21:58:46.285" v="2184" actId="1076"/>
          <ac:picMkLst>
            <pc:docMk/>
            <pc:sldMk cId="1980164139" sldId="2145709202"/>
            <ac:picMk id="22" creationId="{D8EBEFF8-845E-8258-632E-B8B06EA0227A}"/>
          </ac:picMkLst>
        </pc:picChg>
        <pc:picChg chg="add mod modCrop">
          <ac:chgData name="Kathrin Lara Schmidt" userId="cc86c408-88c1-4a0c-884d-b0583cf7cce4" providerId="ADAL" clId="{A6581867-C849-4C47-AB5E-D049DEBE140D}" dt="2022-05-19T21:56:26.399" v="2166" actId="1037"/>
          <ac:picMkLst>
            <pc:docMk/>
            <pc:sldMk cId="1980164139" sldId="2145709202"/>
            <ac:picMk id="24" creationId="{7398C223-CAB5-FD9F-CD8A-D1117E99C4C8}"/>
          </ac:picMkLst>
        </pc:picChg>
      </pc:sldChg>
      <pc:sldChg chg="addSp delSp modSp add mod">
        <pc:chgData name="Kathrin Lara Schmidt" userId="cc86c408-88c1-4a0c-884d-b0583cf7cce4" providerId="ADAL" clId="{A6581867-C849-4C47-AB5E-D049DEBE140D}" dt="2022-05-19T20:19:12.034" v="818" actId="14100"/>
        <pc:sldMkLst>
          <pc:docMk/>
          <pc:sldMk cId="1252500102" sldId="2145709208"/>
        </pc:sldMkLst>
        <pc:spChg chg="add del mod">
          <ac:chgData name="Kathrin Lara Schmidt" userId="cc86c408-88c1-4a0c-884d-b0583cf7cce4" providerId="ADAL" clId="{A6581867-C849-4C47-AB5E-D049DEBE140D}" dt="2022-05-19T19:44:18.567" v="476" actId="478"/>
          <ac:spMkLst>
            <pc:docMk/>
            <pc:sldMk cId="1252500102" sldId="2145709208"/>
            <ac:spMk id="4" creationId="{04BA9AC1-7377-7B44-2FEE-317CF5FBDF22}"/>
          </ac:spMkLst>
        </pc:spChg>
        <pc:spChg chg="del">
          <ac:chgData name="Kathrin Lara Schmidt" userId="cc86c408-88c1-4a0c-884d-b0583cf7cce4" providerId="ADAL" clId="{A6581867-C849-4C47-AB5E-D049DEBE140D}" dt="2022-05-19T19:44:15.147" v="475" actId="478"/>
          <ac:spMkLst>
            <pc:docMk/>
            <pc:sldMk cId="1252500102" sldId="2145709208"/>
            <ac:spMk id="5" creationId="{F36C395D-236F-3D46-9B82-6021C1FC5BE6}"/>
          </ac:spMkLst>
        </pc:spChg>
        <pc:spChg chg="add mod ord">
          <ac:chgData name="Kathrin Lara Schmidt" userId="cc86c408-88c1-4a0c-884d-b0583cf7cce4" providerId="ADAL" clId="{A6581867-C849-4C47-AB5E-D049DEBE140D}" dt="2022-05-19T20:04:18.418" v="625" actId="167"/>
          <ac:spMkLst>
            <pc:docMk/>
            <pc:sldMk cId="1252500102" sldId="2145709208"/>
            <ac:spMk id="6" creationId="{5FBE62C6-A851-F325-9C4A-C841230369F2}"/>
          </ac:spMkLst>
        </pc:spChg>
        <pc:spChg chg="add del">
          <ac:chgData name="Kathrin Lara Schmidt" userId="cc86c408-88c1-4a0c-884d-b0583cf7cce4" providerId="ADAL" clId="{A6581867-C849-4C47-AB5E-D049DEBE140D}" dt="2022-05-19T19:31:23.584" v="379" actId="478"/>
          <ac:spMkLst>
            <pc:docMk/>
            <pc:sldMk cId="1252500102" sldId="2145709208"/>
            <ac:spMk id="10" creationId="{4693D9E4-A748-0941-AB81-E5DD882C4A2D}"/>
          </ac:spMkLst>
        </pc:spChg>
        <pc:spChg chg="add del mod">
          <ac:chgData name="Kathrin Lara Schmidt" userId="cc86c408-88c1-4a0c-884d-b0583cf7cce4" providerId="ADAL" clId="{A6581867-C849-4C47-AB5E-D049DEBE140D}" dt="2022-05-19T20:10:08.010" v="710" actId="478"/>
          <ac:spMkLst>
            <pc:docMk/>
            <pc:sldMk cId="1252500102" sldId="2145709208"/>
            <ac:spMk id="11" creationId="{A31AC460-3906-84B7-41E2-3D5B1ACE429C}"/>
          </ac:spMkLst>
        </pc:spChg>
        <pc:spChg chg="del">
          <ac:chgData name="Kathrin Lara Schmidt" userId="cc86c408-88c1-4a0c-884d-b0583cf7cce4" providerId="ADAL" clId="{A6581867-C849-4C47-AB5E-D049DEBE140D}" dt="2022-05-19T19:31:22.240" v="378" actId="478"/>
          <ac:spMkLst>
            <pc:docMk/>
            <pc:sldMk cId="1252500102" sldId="2145709208"/>
            <ac:spMk id="12" creationId="{19BC212D-F58F-7940-9412-C5EE31C297AA}"/>
          </ac:spMkLst>
        </pc:spChg>
        <pc:spChg chg="del mod">
          <ac:chgData name="Kathrin Lara Schmidt" userId="cc86c408-88c1-4a0c-884d-b0583cf7cce4" providerId="ADAL" clId="{A6581867-C849-4C47-AB5E-D049DEBE140D}" dt="2022-05-19T19:31:16.264" v="375" actId="478"/>
          <ac:spMkLst>
            <pc:docMk/>
            <pc:sldMk cId="1252500102" sldId="2145709208"/>
            <ac:spMk id="13" creationId="{04EA4BD0-9E08-F145-827E-BDEE8FCE91C4}"/>
          </ac:spMkLst>
        </pc:spChg>
        <pc:spChg chg="add mod">
          <ac:chgData name="Kathrin Lara Schmidt" userId="cc86c408-88c1-4a0c-884d-b0583cf7cce4" providerId="ADAL" clId="{A6581867-C849-4C47-AB5E-D049DEBE140D}" dt="2022-05-19T20:19:12.034" v="818" actId="14100"/>
          <ac:spMkLst>
            <pc:docMk/>
            <pc:sldMk cId="1252500102" sldId="2145709208"/>
            <ac:spMk id="14" creationId="{349531C8-260E-3E49-4697-EBD0F9F98A10}"/>
          </ac:spMkLst>
        </pc:spChg>
        <pc:spChg chg="del">
          <ac:chgData name="Kathrin Lara Schmidt" userId="cc86c408-88c1-4a0c-884d-b0583cf7cce4" providerId="ADAL" clId="{A6581867-C849-4C47-AB5E-D049DEBE140D}" dt="2022-05-19T19:31:26.558" v="380" actId="478"/>
          <ac:spMkLst>
            <pc:docMk/>
            <pc:sldMk cId="1252500102" sldId="2145709208"/>
            <ac:spMk id="14" creationId="{39D0A744-E32D-4D41-A866-8787252F9E28}"/>
          </ac:spMkLst>
        </pc:spChg>
        <pc:spChg chg="del mod">
          <ac:chgData name="Kathrin Lara Schmidt" userId="cc86c408-88c1-4a0c-884d-b0583cf7cce4" providerId="ADAL" clId="{A6581867-C849-4C47-AB5E-D049DEBE140D}" dt="2022-05-19T19:31:29.340" v="383" actId="478"/>
          <ac:spMkLst>
            <pc:docMk/>
            <pc:sldMk cId="1252500102" sldId="2145709208"/>
            <ac:spMk id="17" creationId="{E063BA23-13EB-C295-6AA1-3395CCB44067}"/>
          </ac:spMkLst>
        </pc:spChg>
        <pc:spChg chg="del">
          <ac:chgData name="Kathrin Lara Schmidt" userId="cc86c408-88c1-4a0c-884d-b0583cf7cce4" providerId="ADAL" clId="{A6581867-C849-4C47-AB5E-D049DEBE140D}" dt="2022-05-19T19:50:07.649" v="483" actId="478"/>
          <ac:spMkLst>
            <pc:docMk/>
            <pc:sldMk cId="1252500102" sldId="2145709208"/>
            <ac:spMk id="29" creationId="{B2D2609A-5951-3C4F-9E53-4B325EA41E04}"/>
          </ac:spMkLst>
        </pc:spChg>
        <pc:spChg chg="mod">
          <ac:chgData name="Kathrin Lara Schmidt" userId="cc86c408-88c1-4a0c-884d-b0583cf7cce4" providerId="ADAL" clId="{A6581867-C849-4C47-AB5E-D049DEBE140D}" dt="2022-05-19T19:43:50.427" v="474" actId="403"/>
          <ac:spMkLst>
            <pc:docMk/>
            <pc:sldMk cId="1252500102" sldId="2145709208"/>
            <ac:spMk id="30" creationId="{37A31358-C64D-BA4B-B76C-08DCCEFFF2BF}"/>
          </ac:spMkLst>
        </pc:spChg>
        <pc:graphicFrameChg chg="del mod">
          <ac:chgData name="Kathrin Lara Schmidt" userId="cc86c408-88c1-4a0c-884d-b0583cf7cce4" providerId="ADAL" clId="{A6581867-C849-4C47-AB5E-D049DEBE140D}" dt="2022-05-19T19:31:36.009" v="387" actId="478"/>
          <ac:graphicFrameMkLst>
            <pc:docMk/>
            <pc:sldMk cId="1252500102" sldId="2145709208"/>
            <ac:graphicFrameMk id="2" creationId="{92548037-381F-DEF4-61A5-62618C114173}"/>
          </ac:graphicFrameMkLst>
        </pc:graphicFrameChg>
        <pc:picChg chg="add del mod">
          <ac:chgData name="Kathrin Lara Schmidt" userId="cc86c408-88c1-4a0c-884d-b0583cf7cce4" providerId="ADAL" clId="{A6581867-C849-4C47-AB5E-D049DEBE140D}" dt="2022-05-19T20:11:35.620" v="720" actId="478"/>
          <ac:picMkLst>
            <pc:docMk/>
            <pc:sldMk cId="1252500102" sldId="2145709208"/>
            <ac:picMk id="7" creationId="{5A9240E2-9D84-955B-F8FC-183DC1EA0AC8}"/>
          </ac:picMkLst>
        </pc:picChg>
        <pc:picChg chg="del">
          <ac:chgData name="Kathrin Lara Schmidt" userId="cc86c408-88c1-4a0c-884d-b0583cf7cce4" providerId="ADAL" clId="{A6581867-C849-4C47-AB5E-D049DEBE140D}" dt="2022-05-19T19:31:30.633" v="385" actId="478"/>
          <ac:picMkLst>
            <pc:docMk/>
            <pc:sldMk cId="1252500102" sldId="2145709208"/>
            <ac:picMk id="8" creationId="{C6C69613-BE28-20E1-139C-B4EB4044B802}"/>
          </ac:picMkLst>
        </pc:picChg>
        <pc:picChg chg="add del mod ord modCrop">
          <ac:chgData name="Kathrin Lara Schmidt" userId="cc86c408-88c1-4a0c-884d-b0583cf7cce4" providerId="ADAL" clId="{A6581867-C849-4C47-AB5E-D049DEBE140D}" dt="2022-05-19T20:10:06.987" v="709" actId="478"/>
          <ac:picMkLst>
            <pc:docMk/>
            <pc:sldMk cId="1252500102" sldId="2145709208"/>
            <ac:picMk id="9" creationId="{576A69C4-8867-4CF4-C24F-671B1140F5E1}"/>
          </ac:picMkLst>
        </pc:picChg>
        <pc:picChg chg="add del mod">
          <ac:chgData name="Kathrin Lara Schmidt" userId="cc86c408-88c1-4a0c-884d-b0583cf7cce4" providerId="ADAL" clId="{A6581867-C849-4C47-AB5E-D049DEBE140D}" dt="2022-05-19T20:11:34.908" v="719" actId="478"/>
          <ac:picMkLst>
            <pc:docMk/>
            <pc:sldMk cId="1252500102" sldId="2145709208"/>
            <ac:picMk id="10" creationId="{CC987671-89FD-4FB3-4CF5-AB7EDF69EC7C}"/>
          </ac:picMkLst>
        </pc:picChg>
        <pc:picChg chg="add mod modCrop">
          <ac:chgData name="Kathrin Lara Schmidt" userId="cc86c408-88c1-4a0c-884d-b0583cf7cce4" providerId="ADAL" clId="{A6581867-C849-4C47-AB5E-D049DEBE140D}" dt="2022-05-19T20:18:36.563" v="797" actId="1076"/>
          <ac:picMkLst>
            <pc:docMk/>
            <pc:sldMk cId="1252500102" sldId="2145709208"/>
            <ac:picMk id="13" creationId="{B29E020F-2476-1EB8-DACD-3552AAF65063}"/>
          </ac:picMkLst>
        </pc:picChg>
        <pc:picChg chg="add del mod">
          <ac:chgData name="Kathrin Lara Schmidt" userId="cc86c408-88c1-4a0c-884d-b0583cf7cce4" providerId="ADAL" clId="{A6581867-C849-4C47-AB5E-D049DEBE140D}" dt="2022-05-19T20:17:18.842" v="783"/>
          <ac:picMkLst>
            <pc:docMk/>
            <pc:sldMk cId="1252500102" sldId="2145709208"/>
            <ac:picMk id="16" creationId="{7D09AB95-D5BD-3D6F-0197-8C9F03C2F6AE}"/>
          </ac:picMkLst>
        </pc:picChg>
        <pc:cxnChg chg="add mod">
          <ac:chgData name="Kathrin Lara Schmidt" userId="cc86c408-88c1-4a0c-884d-b0583cf7cce4" providerId="ADAL" clId="{A6581867-C849-4C47-AB5E-D049DEBE140D}" dt="2022-05-19T20:05:00.686" v="645" actId="1036"/>
          <ac:cxnSpMkLst>
            <pc:docMk/>
            <pc:sldMk cId="1252500102" sldId="2145709208"/>
            <ac:cxnSpMk id="3" creationId="{93329E74-01B1-D64C-69CF-9F494234CE60}"/>
          </ac:cxnSpMkLst>
        </pc:cxnChg>
        <pc:cxnChg chg="del">
          <ac:chgData name="Kathrin Lara Schmidt" userId="cc86c408-88c1-4a0c-884d-b0583cf7cce4" providerId="ADAL" clId="{A6581867-C849-4C47-AB5E-D049DEBE140D}" dt="2022-05-19T19:31:27.468" v="381" actId="478"/>
          <ac:cxnSpMkLst>
            <pc:docMk/>
            <pc:sldMk cId="1252500102" sldId="2145709208"/>
            <ac:cxnSpMk id="18" creationId="{88CDA319-D1CD-5567-4D1D-8DA206D1F47F}"/>
          </ac:cxnSpMkLst>
        </pc:cxnChg>
        <pc:cxnChg chg="del">
          <ac:chgData name="Kathrin Lara Schmidt" userId="cc86c408-88c1-4a0c-884d-b0583cf7cce4" providerId="ADAL" clId="{A6581867-C849-4C47-AB5E-D049DEBE140D}" dt="2022-05-19T19:31:30.041" v="384" actId="478"/>
          <ac:cxnSpMkLst>
            <pc:docMk/>
            <pc:sldMk cId="1252500102" sldId="2145709208"/>
            <ac:cxnSpMk id="19" creationId="{7B33B9FC-7E41-80B5-A258-F848E8749B6E}"/>
          </ac:cxnSpMkLst>
        </pc:cxnChg>
      </pc:sldChg>
      <pc:sldChg chg="delSp add del mod">
        <pc:chgData name="Kathrin Lara Schmidt" userId="cc86c408-88c1-4a0c-884d-b0583cf7cce4" providerId="ADAL" clId="{A6581867-C849-4C47-AB5E-D049DEBE140D}" dt="2022-05-19T21:15:33.939" v="1859" actId="47"/>
        <pc:sldMkLst>
          <pc:docMk/>
          <pc:sldMk cId="1098868776" sldId="2145709209"/>
        </pc:sldMkLst>
        <pc:picChg chg="del">
          <ac:chgData name="Kathrin Lara Schmidt" userId="cc86c408-88c1-4a0c-884d-b0583cf7cce4" providerId="ADAL" clId="{A6581867-C849-4C47-AB5E-D049DEBE140D}" dt="2022-05-19T21:15:29.985" v="1857" actId="21"/>
          <ac:picMkLst>
            <pc:docMk/>
            <pc:sldMk cId="1098868776" sldId="2145709209"/>
            <ac:picMk id="3" creationId="{75282AF9-CE42-887E-59A8-B3FFCC3E0FFA}"/>
          </ac:picMkLst>
        </pc:picChg>
      </pc:sldChg>
      <pc:sldChg chg="addSp delSp modSp add mod modTransition">
        <pc:chgData name="Kathrin Lara Schmidt" userId="cc86c408-88c1-4a0c-884d-b0583cf7cce4" providerId="ADAL" clId="{A6581867-C849-4C47-AB5E-D049DEBE140D}" dt="2022-05-19T20:18:18.705" v="795" actId="14100"/>
        <pc:sldMkLst>
          <pc:docMk/>
          <pc:sldMk cId="954218426" sldId="2145709210"/>
        </pc:sldMkLst>
        <pc:spChg chg="add mod ord">
          <ac:chgData name="Kathrin Lara Schmidt" userId="cc86c408-88c1-4a0c-884d-b0583cf7cce4" providerId="ADAL" clId="{A6581867-C849-4C47-AB5E-D049DEBE140D}" dt="2022-05-19T20:06:49.037" v="685" actId="167"/>
          <ac:spMkLst>
            <pc:docMk/>
            <pc:sldMk cId="954218426" sldId="2145709210"/>
            <ac:spMk id="5" creationId="{B9C9C9AA-1691-E530-5098-10217C22E69C}"/>
          </ac:spMkLst>
        </pc:spChg>
        <pc:spChg chg="add del mod ord">
          <ac:chgData name="Kathrin Lara Schmidt" userId="cc86c408-88c1-4a0c-884d-b0583cf7cce4" providerId="ADAL" clId="{A6581867-C849-4C47-AB5E-D049DEBE140D}" dt="2022-05-19T20:06:52.002" v="686" actId="478"/>
          <ac:spMkLst>
            <pc:docMk/>
            <pc:sldMk cId="954218426" sldId="2145709210"/>
            <ac:spMk id="8" creationId="{42A6AA6F-D05B-AF2C-C607-460364B26B46}"/>
          </ac:spMkLst>
        </pc:spChg>
        <pc:spChg chg="del">
          <ac:chgData name="Kathrin Lara Schmidt" userId="cc86c408-88c1-4a0c-884d-b0583cf7cce4" providerId="ADAL" clId="{A6581867-C849-4C47-AB5E-D049DEBE140D}" dt="2022-05-19T20:06:53.154" v="687" actId="478"/>
          <ac:spMkLst>
            <pc:docMk/>
            <pc:sldMk cId="954218426" sldId="2145709210"/>
            <ac:spMk id="11" creationId="{A31AC460-3906-84B7-41E2-3D5B1ACE429C}"/>
          </ac:spMkLst>
        </pc:spChg>
        <pc:spChg chg="del">
          <ac:chgData name="Kathrin Lara Schmidt" userId="cc86c408-88c1-4a0c-884d-b0583cf7cce4" providerId="ADAL" clId="{A6581867-C849-4C47-AB5E-D049DEBE140D}" dt="2022-05-19T19:52:50.061" v="504" actId="478"/>
          <ac:spMkLst>
            <pc:docMk/>
            <pc:sldMk cId="954218426" sldId="2145709210"/>
            <ac:spMk id="28" creationId="{1707D6E5-FBC2-4348-8CCB-0F1B8C5B4AC0}"/>
          </ac:spMkLst>
        </pc:spChg>
        <pc:spChg chg="del">
          <ac:chgData name="Kathrin Lara Schmidt" userId="cc86c408-88c1-4a0c-884d-b0583cf7cce4" providerId="ADAL" clId="{A6581867-C849-4C47-AB5E-D049DEBE140D}" dt="2022-05-19T19:52:47.656" v="503" actId="478"/>
          <ac:spMkLst>
            <pc:docMk/>
            <pc:sldMk cId="954218426" sldId="2145709210"/>
            <ac:spMk id="30" creationId="{37A31358-C64D-BA4B-B76C-08DCCEFFF2BF}"/>
          </ac:spMkLst>
        </pc:spChg>
        <pc:grpChg chg="add mod">
          <ac:chgData name="Kathrin Lara Schmidt" userId="cc86c408-88c1-4a0c-884d-b0583cf7cce4" providerId="ADAL" clId="{A6581867-C849-4C47-AB5E-D049DEBE140D}" dt="2022-05-19T20:17:29.446" v="787" actId="164"/>
          <ac:grpSpMkLst>
            <pc:docMk/>
            <pc:sldMk cId="954218426" sldId="2145709210"/>
            <ac:grpSpMk id="6" creationId="{78813B7B-08DE-B092-E065-690429E2271F}"/>
          </ac:grpSpMkLst>
        </pc:grpChg>
        <pc:grpChg chg="add mod">
          <ac:chgData name="Kathrin Lara Schmidt" userId="cc86c408-88c1-4a0c-884d-b0583cf7cce4" providerId="ADAL" clId="{A6581867-C849-4C47-AB5E-D049DEBE140D}" dt="2022-05-19T20:17:03.034" v="778" actId="164"/>
          <ac:grpSpMkLst>
            <pc:docMk/>
            <pc:sldMk cId="954218426" sldId="2145709210"/>
            <ac:grpSpMk id="7" creationId="{1F43CF3F-AA2F-BCC1-464F-59BDE946E959}"/>
          </ac:grpSpMkLst>
        </pc:grpChg>
        <pc:grpChg chg="add mod">
          <ac:chgData name="Kathrin Lara Schmidt" userId="cc86c408-88c1-4a0c-884d-b0583cf7cce4" providerId="ADAL" clId="{A6581867-C849-4C47-AB5E-D049DEBE140D}" dt="2022-05-19T20:18:18.705" v="795" actId="14100"/>
          <ac:grpSpMkLst>
            <pc:docMk/>
            <pc:sldMk cId="954218426" sldId="2145709210"/>
            <ac:grpSpMk id="15" creationId="{A402A504-7B9B-09C7-9742-E8DD13B91976}"/>
          </ac:grpSpMkLst>
        </pc:grpChg>
        <pc:picChg chg="add del mod modCrop">
          <ac:chgData name="Kathrin Lara Schmidt" userId="cc86c408-88c1-4a0c-884d-b0583cf7cce4" providerId="ADAL" clId="{A6581867-C849-4C47-AB5E-D049DEBE140D}" dt="2022-05-19T20:10:09.447" v="711" actId="478"/>
          <ac:picMkLst>
            <pc:docMk/>
            <pc:sldMk cId="954218426" sldId="2145709210"/>
            <ac:picMk id="3" creationId="{3AC7C59A-08BB-32B5-AFFE-2004F1B0C146}"/>
          </ac:picMkLst>
        </pc:picChg>
        <pc:picChg chg="add del mod modCrop">
          <ac:chgData name="Kathrin Lara Schmidt" userId="cc86c408-88c1-4a0c-884d-b0583cf7cce4" providerId="ADAL" clId="{A6581867-C849-4C47-AB5E-D049DEBE140D}" dt="2022-05-19T20:13:18.226" v="732" actId="21"/>
          <ac:picMkLst>
            <pc:docMk/>
            <pc:sldMk cId="954218426" sldId="2145709210"/>
            <ac:picMk id="4" creationId="{2F16FFF1-9DA1-CA31-B96D-73CF65578173}"/>
          </ac:picMkLst>
        </pc:picChg>
        <pc:picChg chg="add del mod modCrop">
          <ac:chgData name="Kathrin Lara Schmidt" userId="cc86c408-88c1-4a0c-884d-b0583cf7cce4" providerId="ADAL" clId="{A6581867-C849-4C47-AB5E-D049DEBE140D}" dt="2022-05-19T20:17:29.446" v="787" actId="164"/>
          <ac:picMkLst>
            <pc:docMk/>
            <pc:sldMk cId="954218426" sldId="2145709210"/>
            <ac:picMk id="9" creationId="{27EF1732-FF1D-3FA4-5330-FD27BE3781AD}"/>
          </ac:picMkLst>
        </pc:picChg>
        <pc:picChg chg="del">
          <ac:chgData name="Kathrin Lara Schmidt" userId="cc86c408-88c1-4a0c-884d-b0583cf7cce4" providerId="ADAL" clId="{A6581867-C849-4C47-AB5E-D049DEBE140D}" dt="2022-05-19T19:52:44.800" v="502" actId="478"/>
          <ac:picMkLst>
            <pc:docMk/>
            <pc:sldMk cId="954218426" sldId="2145709210"/>
            <ac:picMk id="9" creationId="{576A69C4-8867-4CF4-C24F-671B1140F5E1}"/>
          </ac:picMkLst>
        </pc:picChg>
        <pc:picChg chg="add mod modCrop">
          <ac:chgData name="Kathrin Lara Schmidt" userId="cc86c408-88c1-4a0c-884d-b0583cf7cce4" providerId="ADAL" clId="{A6581867-C849-4C47-AB5E-D049DEBE140D}" dt="2022-05-19T20:17:23.802" v="786" actId="164"/>
          <ac:picMkLst>
            <pc:docMk/>
            <pc:sldMk cId="954218426" sldId="2145709210"/>
            <ac:picMk id="10" creationId="{5FB86994-1E7A-B4E3-3538-E7FD3731F4DA}"/>
          </ac:picMkLst>
        </pc:picChg>
        <pc:picChg chg="add mod modCrop">
          <ac:chgData name="Kathrin Lara Schmidt" userId="cc86c408-88c1-4a0c-884d-b0583cf7cce4" providerId="ADAL" clId="{A6581867-C849-4C47-AB5E-D049DEBE140D}" dt="2022-05-19T20:17:23.802" v="786" actId="164"/>
          <ac:picMkLst>
            <pc:docMk/>
            <pc:sldMk cId="954218426" sldId="2145709210"/>
            <ac:picMk id="12" creationId="{82495FBE-25A2-E9B5-C241-F85A63B85502}"/>
          </ac:picMkLst>
        </pc:picChg>
        <pc:picChg chg="add mod modCrop">
          <ac:chgData name="Kathrin Lara Schmidt" userId="cc86c408-88c1-4a0c-884d-b0583cf7cce4" providerId="ADAL" clId="{A6581867-C849-4C47-AB5E-D049DEBE140D}" dt="2022-05-19T20:17:23.802" v="786" actId="164"/>
          <ac:picMkLst>
            <pc:docMk/>
            <pc:sldMk cId="954218426" sldId="2145709210"/>
            <ac:picMk id="13" creationId="{77C33BB7-9B66-2F61-3BD5-5AC068BD6583}"/>
          </ac:picMkLst>
        </pc:picChg>
        <pc:picChg chg="add mod modCrop">
          <ac:chgData name="Kathrin Lara Schmidt" userId="cc86c408-88c1-4a0c-884d-b0583cf7cce4" providerId="ADAL" clId="{A6581867-C849-4C47-AB5E-D049DEBE140D}" dt="2022-05-19T20:17:23.802" v="786" actId="164"/>
          <ac:picMkLst>
            <pc:docMk/>
            <pc:sldMk cId="954218426" sldId="2145709210"/>
            <ac:picMk id="14" creationId="{A1A68863-5E0C-439E-C1E9-109853076496}"/>
          </ac:picMkLst>
        </pc:picChg>
      </pc:sldChg>
      <pc:sldChg chg="addSp delSp modSp add del mod ord">
        <pc:chgData name="Kathrin Lara Schmidt" userId="cc86c408-88c1-4a0c-884d-b0583cf7cce4" providerId="ADAL" clId="{A6581867-C849-4C47-AB5E-D049DEBE140D}" dt="2022-05-19T20:06:37.288" v="683" actId="2696"/>
        <pc:sldMkLst>
          <pc:docMk/>
          <pc:sldMk cId="2316900008" sldId="2145709211"/>
        </pc:sldMkLst>
        <pc:spChg chg="del">
          <ac:chgData name="Kathrin Lara Schmidt" userId="cc86c408-88c1-4a0c-884d-b0583cf7cce4" providerId="ADAL" clId="{A6581867-C849-4C47-AB5E-D049DEBE140D}" dt="2022-05-19T20:03:46.018" v="613" actId="478"/>
          <ac:spMkLst>
            <pc:docMk/>
            <pc:sldMk cId="2316900008" sldId="2145709211"/>
            <ac:spMk id="2" creationId="{A7E166C5-5105-FE63-6B33-8CD8F85B686E}"/>
          </ac:spMkLst>
        </pc:spChg>
        <pc:spChg chg="del">
          <ac:chgData name="Kathrin Lara Schmidt" userId="cc86c408-88c1-4a0c-884d-b0583cf7cce4" providerId="ADAL" clId="{A6581867-C849-4C47-AB5E-D049DEBE140D}" dt="2022-05-19T20:03:50.651" v="617" actId="478"/>
          <ac:spMkLst>
            <pc:docMk/>
            <pc:sldMk cId="2316900008" sldId="2145709211"/>
            <ac:spMk id="26" creationId="{9A85ADF9-8D42-BBCB-18EE-C8B1BAEEDE98}"/>
          </ac:spMkLst>
        </pc:spChg>
        <pc:spChg chg="del">
          <ac:chgData name="Kathrin Lara Schmidt" userId="cc86c408-88c1-4a0c-884d-b0583cf7cce4" providerId="ADAL" clId="{A6581867-C849-4C47-AB5E-D049DEBE140D}" dt="2022-05-19T20:03:52.988" v="618" actId="478"/>
          <ac:spMkLst>
            <pc:docMk/>
            <pc:sldMk cId="2316900008" sldId="2145709211"/>
            <ac:spMk id="28" creationId="{7826CEF0-949E-BE12-2635-CBD5C089A002}"/>
          </ac:spMkLst>
        </pc:spChg>
        <pc:spChg chg="del">
          <ac:chgData name="Kathrin Lara Schmidt" userId="cc86c408-88c1-4a0c-884d-b0583cf7cce4" providerId="ADAL" clId="{A6581867-C849-4C47-AB5E-D049DEBE140D}" dt="2022-05-19T20:03:56.729" v="620" actId="478"/>
          <ac:spMkLst>
            <pc:docMk/>
            <pc:sldMk cId="2316900008" sldId="2145709211"/>
            <ac:spMk id="29" creationId="{CF1AEA95-9F3A-AAF7-FD86-79D4D9FAA42A}"/>
          </ac:spMkLst>
        </pc:spChg>
        <pc:spChg chg="add del">
          <ac:chgData name="Kathrin Lara Schmidt" userId="cc86c408-88c1-4a0c-884d-b0583cf7cce4" providerId="ADAL" clId="{A6581867-C849-4C47-AB5E-D049DEBE140D}" dt="2022-05-19T20:04:02.779" v="623" actId="478"/>
          <ac:spMkLst>
            <pc:docMk/>
            <pc:sldMk cId="2316900008" sldId="2145709211"/>
            <ac:spMk id="33" creationId="{DD27E7C3-CD18-C940-8537-463126100B2B}"/>
          </ac:spMkLst>
        </pc:spChg>
        <pc:spChg chg="del">
          <ac:chgData name="Kathrin Lara Schmidt" userId="cc86c408-88c1-4a0c-884d-b0583cf7cce4" providerId="ADAL" clId="{A6581867-C849-4C47-AB5E-D049DEBE140D}" dt="2022-05-19T20:03:49.145" v="616" actId="478"/>
          <ac:spMkLst>
            <pc:docMk/>
            <pc:sldMk cId="2316900008" sldId="2145709211"/>
            <ac:spMk id="35" creationId="{AEDD8B92-4A62-7216-BDC0-161375C43618}"/>
          </ac:spMkLst>
        </pc:spChg>
        <pc:spChg chg="del">
          <ac:chgData name="Kathrin Lara Schmidt" userId="cc86c408-88c1-4a0c-884d-b0583cf7cce4" providerId="ADAL" clId="{A6581867-C849-4C47-AB5E-D049DEBE140D}" dt="2022-05-19T20:03:54.502" v="619" actId="478"/>
          <ac:spMkLst>
            <pc:docMk/>
            <pc:sldMk cId="2316900008" sldId="2145709211"/>
            <ac:spMk id="36" creationId="{4A61F5AC-6D0A-12B3-5C0B-9BACC516E501}"/>
          </ac:spMkLst>
        </pc:spChg>
        <pc:spChg chg="del mod">
          <ac:chgData name="Kathrin Lara Schmidt" userId="cc86c408-88c1-4a0c-884d-b0583cf7cce4" providerId="ADAL" clId="{A6581867-C849-4C47-AB5E-D049DEBE140D}" dt="2022-05-19T20:03:47.809" v="615" actId="478"/>
          <ac:spMkLst>
            <pc:docMk/>
            <pc:sldMk cId="2316900008" sldId="2145709211"/>
            <ac:spMk id="40" creationId="{384E8F69-0477-9CFA-5AAA-5760EFE4C4CC}"/>
          </ac:spMkLst>
        </pc:spChg>
        <pc:spChg chg="del">
          <ac:chgData name="Kathrin Lara Schmidt" userId="cc86c408-88c1-4a0c-884d-b0583cf7cce4" providerId="ADAL" clId="{A6581867-C849-4C47-AB5E-D049DEBE140D}" dt="2022-05-19T20:03:58.103" v="621" actId="478"/>
          <ac:spMkLst>
            <pc:docMk/>
            <pc:sldMk cId="2316900008" sldId="2145709211"/>
            <ac:spMk id="41" creationId="{63751CFA-85A8-0C46-D0CE-CA1789E3C8F0}"/>
          </ac:spMkLst>
        </pc:spChg>
      </pc:sldChg>
      <pc:sldChg chg="addSp delSp modSp add del mod">
        <pc:chgData name="Kathrin Lara Schmidt" userId="cc86c408-88c1-4a0c-884d-b0583cf7cce4" providerId="ADAL" clId="{A6581867-C849-4C47-AB5E-D049DEBE140D}" dt="2022-05-19T20:10:10.660" v="712" actId="47"/>
        <pc:sldMkLst>
          <pc:docMk/>
          <pc:sldMk cId="3032820291" sldId="2145709211"/>
        </pc:sldMkLst>
        <pc:spChg chg="add mod">
          <ac:chgData name="Kathrin Lara Schmidt" userId="cc86c408-88c1-4a0c-884d-b0583cf7cce4" providerId="ADAL" clId="{A6581867-C849-4C47-AB5E-D049DEBE140D}" dt="2022-05-19T20:08:30.984" v="701" actId="2085"/>
          <ac:spMkLst>
            <pc:docMk/>
            <pc:sldMk cId="3032820291" sldId="2145709211"/>
            <ac:spMk id="6" creationId="{7B339553-51F2-C913-65EB-7252335C1F23}"/>
          </ac:spMkLst>
        </pc:spChg>
        <pc:spChg chg="add mod">
          <ac:chgData name="Kathrin Lara Schmidt" userId="cc86c408-88c1-4a0c-884d-b0583cf7cce4" providerId="ADAL" clId="{A6581867-C849-4C47-AB5E-D049DEBE140D}" dt="2022-05-19T20:08:26.041" v="700" actId="2085"/>
          <ac:spMkLst>
            <pc:docMk/>
            <pc:sldMk cId="3032820291" sldId="2145709211"/>
            <ac:spMk id="7" creationId="{9687FCA6-DDFD-A94C-4B5D-BFB361079BD9}"/>
          </ac:spMkLst>
        </pc:spChg>
        <pc:picChg chg="del">
          <ac:chgData name="Kathrin Lara Schmidt" userId="cc86c408-88c1-4a0c-884d-b0583cf7cce4" providerId="ADAL" clId="{A6581867-C849-4C47-AB5E-D049DEBE140D}" dt="2022-05-19T20:07:05.657" v="689" actId="478"/>
          <ac:picMkLst>
            <pc:docMk/>
            <pc:sldMk cId="3032820291" sldId="2145709211"/>
            <ac:picMk id="3" creationId="{3AC7C59A-08BB-32B5-AFFE-2004F1B0C146}"/>
          </ac:picMkLst>
        </pc:picChg>
        <pc:picChg chg="add mod">
          <ac:chgData name="Kathrin Lara Schmidt" userId="cc86c408-88c1-4a0c-884d-b0583cf7cce4" providerId="ADAL" clId="{A6581867-C849-4C47-AB5E-D049DEBE140D}" dt="2022-05-19T20:07:40.968" v="694" actId="1076"/>
          <ac:picMkLst>
            <pc:docMk/>
            <pc:sldMk cId="3032820291" sldId="2145709211"/>
            <ac:picMk id="4" creationId="{E8ED8049-CDCE-BBC1-2EAB-F41C124EFE78}"/>
          </ac:picMkLst>
        </pc:picChg>
      </pc:sldChg>
      <pc:sldChg chg="addSp delSp modSp add mod">
        <pc:chgData name="Kathrin Lara Schmidt" userId="cc86c408-88c1-4a0c-884d-b0583cf7cce4" providerId="ADAL" clId="{A6581867-C849-4C47-AB5E-D049DEBE140D}" dt="2022-05-19T20:24:09.727" v="855" actId="732"/>
        <pc:sldMkLst>
          <pc:docMk/>
          <pc:sldMk cId="2349650862" sldId="2145709212"/>
        </pc:sldMkLst>
        <pc:picChg chg="add del mod modCrop">
          <ac:chgData name="Kathrin Lara Schmidt" userId="cc86c408-88c1-4a0c-884d-b0583cf7cce4" providerId="ADAL" clId="{A6581867-C849-4C47-AB5E-D049DEBE140D}" dt="2022-05-19T20:10:13.251" v="713" actId="478"/>
          <ac:picMkLst>
            <pc:docMk/>
            <pc:sldMk cId="2349650862" sldId="2145709212"/>
            <ac:picMk id="3" creationId="{5D75567D-B862-0375-19D9-B418EA73B90E}"/>
          </ac:picMkLst>
        </pc:picChg>
        <pc:picChg chg="add mod modCrop">
          <ac:chgData name="Kathrin Lara Schmidt" userId="cc86c408-88c1-4a0c-884d-b0583cf7cce4" providerId="ADAL" clId="{A6581867-C849-4C47-AB5E-D049DEBE140D}" dt="2022-05-19T20:20:32.323" v="827" actId="732"/>
          <ac:picMkLst>
            <pc:docMk/>
            <pc:sldMk cId="2349650862" sldId="2145709212"/>
            <ac:picMk id="6" creationId="{6FABAFBA-0E50-E4F3-DDFE-2DA51CF6A7EA}"/>
          </ac:picMkLst>
        </pc:picChg>
        <pc:picChg chg="add del mod modCrop">
          <ac:chgData name="Kathrin Lara Schmidt" userId="cc86c408-88c1-4a0c-884d-b0583cf7cce4" providerId="ADAL" clId="{A6581867-C849-4C47-AB5E-D049DEBE140D}" dt="2022-05-19T20:22:03.248" v="836" actId="478"/>
          <ac:picMkLst>
            <pc:docMk/>
            <pc:sldMk cId="2349650862" sldId="2145709212"/>
            <ac:picMk id="7" creationId="{F8A59BBA-5C5E-CF6D-36FC-95A6C8A26C90}"/>
          </ac:picMkLst>
        </pc:picChg>
        <pc:picChg chg="add del mod">
          <ac:chgData name="Kathrin Lara Schmidt" userId="cc86c408-88c1-4a0c-884d-b0583cf7cce4" providerId="ADAL" clId="{A6581867-C849-4C47-AB5E-D049DEBE140D}" dt="2022-05-19T20:21:34.706" v="835" actId="478"/>
          <ac:picMkLst>
            <pc:docMk/>
            <pc:sldMk cId="2349650862" sldId="2145709212"/>
            <ac:picMk id="9" creationId="{78E065B6-21D8-5156-4BEE-FF682800F6E6}"/>
          </ac:picMkLst>
        </pc:picChg>
        <pc:picChg chg="add mod modCrop">
          <ac:chgData name="Kathrin Lara Schmidt" userId="cc86c408-88c1-4a0c-884d-b0583cf7cce4" providerId="ADAL" clId="{A6581867-C849-4C47-AB5E-D049DEBE140D}" dt="2022-05-19T20:23:49.718" v="851" actId="1076"/>
          <ac:picMkLst>
            <pc:docMk/>
            <pc:sldMk cId="2349650862" sldId="2145709212"/>
            <ac:picMk id="11" creationId="{61A740C9-269A-0F7B-A5F7-88B5CA2EEA7A}"/>
          </ac:picMkLst>
        </pc:picChg>
        <pc:picChg chg="add mod modCrop">
          <ac:chgData name="Kathrin Lara Schmidt" userId="cc86c408-88c1-4a0c-884d-b0583cf7cce4" providerId="ADAL" clId="{A6581867-C849-4C47-AB5E-D049DEBE140D}" dt="2022-05-19T20:24:09.727" v="855" actId="732"/>
          <ac:picMkLst>
            <pc:docMk/>
            <pc:sldMk cId="2349650862" sldId="2145709212"/>
            <ac:picMk id="12" creationId="{819A8C84-AE68-6ED8-CD42-317885CC38A5}"/>
          </ac:picMkLst>
        </pc:picChg>
      </pc:sldChg>
      <pc:sldChg chg="addSp delSp modSp add mod">
        <pc:chgData name="Kathrin Lara Schmidt" userId="cc86c408-88c1-4a0c-884d-b0583cf7cce4" providerId="ADAL" clId="{A6581867-C849-4C47-AB5E-D049DEBE140D}" dt="2022-05-19T20:28:48.467" v="882" actId="732"/>
        <pc:sldMkLst>
          <pc:docMk/>
          <pc:sldMk cId="2211417266" sldId="2145709213"/>
        </pc:sldMkLst>
        <pc:picChg chg="add mod modCrop">
          <ac:chgData name="Kathrin Lara Schmidt" userId="cc86c408-88c1-4a0c-884d-b0583cf7cce4" providerId="ADAL" clId="{A6581867-C849-4C47-AB5E-D049DEBE140D}" dt="2022-05-19T20:24:26.451" v="857" actId="1076"/>
          <ac:picMkLst>
            <pc:docMk/>
            <pc:sldMk cId="2211417266" sldId="2145709213"/>
            <ac:picMk id="3" creationId="{14D1F4C3-3F77-6ECC-9800-BCC5752E8674}"/>
          </ac:picMkLst>
        </pc:picChg>
        <pc:picChg chg="add del mod modCrop">
          <ac:chgData name="Kathrin Lara Schmidt" userId="cc86c408-88c1-4a0c-884d-b0583cf7cce4" providerId="ADAL" clId="{A6581867-C849-4C47-AB5E-D049DEBE140D}" dt="2022-05-19T20:24:50.279" v="861" actId="478"/>
          <ac:picMkLst>
            <pc:docMk/>
            <pc:sldMk cId="2211417266" sldId="2145709213"/>
            <ac:picMk id="4" creationId="{FFBCDAD6-A6E8-2EF7-72D4-329398BBE0D9}"/>
          </ac:picMkLst>
        </pc:picChg>
        <pc:picChg chg="add mod modCrop">
          <ac:chgData name="Kathrin Lara Schmidt" userId="cc86c408-88c1-4a0c-884d-b0583cf7cce4" providerId="ADAL" clId="{A6581867-C849-4C47-AB5E-D049DEBE140D}" dt="2022-05-19T20:28:48.467" v="882" actId="732"/>
          <ac:picMkLst>
            <pc:docMk/>
            <pc:sldMk cId="2211417266" sldId="2145709213"/>
            <ac:picMk id="7" creationId="{95DC14B0-3C63-FAE7-5956-243CC4BE1192}"/>
          </ac:picMkLst>
        </pc:picChg>
      </pc:sldChg>
      <pc:sldChg chg="add del">
        <pc:chgData name="Kathrin Lara Schmidt" userId="cc86c408-88c1-4a0c-884d-b0583cf7cce4" providerId="ADAL" clId="{A6581867-C849-4C47-AB5E-D049DEBE140D}" dt="2022-05-19T20:26:54.401" v="879" actId="47"/>
        <pc:sldMkLst>
          <pc:docMk/>
          <pc:sldMk cId="4028444504" sldId="2145709214"/>
        </pc:sldMkLst>
      </pc:sldChg>
      <pc:sldChg chg="addSp delSp modSp add mod">
        <pc:chgData name="Kathrin Lara Schmidt" userId="cc86c408-88c1-4a0c-884d-b0583cf7cce4" providerId="ADAL" clId="{A6581867-C849-4C47-AB5E-D049DEBE140D}" dt="2022-05-19T20:26:40.587" v="878" actId="732"/>
        <pc:sldMkLst>
          <pc:docMk/>
          <pc:sldMk cId="3210848363" sldId="2145709215"/>
        </pc:sldMkLst>
        <pc:picChg chg="add del mod modCrop">
          <ac:chgData name="Kathrin Lara Schmidt" userId="cc86c408-88c1-4a0c-884d-b0583cf7cce4" providerId="ADAL" clId="{A6581867-C849-4C47-AB5E-D049DEBE140D}" dt="2022-05-19T20:26:15.014" v="872" actId="478"/>
          <ac:picMkLst>
            <pc:docMk/>
            <pc:sldMk cId="3210848363" sldId="2145709215"/>
            <ac:picMk id="3" creationId="{98C6CAD7-094F-6EEB-4564-AB06EEDBF09E}"/>
          </ac:picMkLst>
        </pc:picChg>
        <pc:picChg chg="add mod modCrop">
          <ac:chgData name="Kathrin Lara Schmidt" userId="cc86c408-88c1-4a0c-884d-b0583cf7cce4" providerId="ADAL" clId="{A6581867-C849-4C47-AB5E-D049DEBE140D}" dt="2022-05-19T20:26:40.587" v="878" actId="732"/>
          <ac:picMkLst>
            <pc:docMk/>
            <pc:sldMk cId="3210848363" sldId="2145709215"/>
            <ac:picMk id="6" creationId="{8AD3C670-01B8-3919-72F4-4E78BDEE2CCE}"/>
          </ac:picMkLst>
        </pc:picChg>
      </pc:sldChg>
      <pc:sldChg chg="addSp delSp modSp add mod ord">
        <pc:chgData name="Kathrin Lara Schmidt" userId="cc86c408-88c1-4a0c-884d-b0583cf7cce4" providerId="ADAL" clId="{A6581867-C849-4C47-AB5E-D049DEBE140D}" dt="2022-05-20T11:39:00.115" v="2325"/>
        <pc:sldMkLst>
          <pc:docMk/>
          <pc:sldMk cId="1595957738" sldId="2145709216"/>
        </pc:sldMkLst>
        <pc:spChg chg="add del mod">
          <ac:chgData name="Kathrin Lara Schmidt" userId="cc86c408-88c1-4a0c-884d-b0583cf7cce4" providerId="ADAL" clId="{A6581867-C849-4C47-AB5E-D049DEBE140D}" dt="2022-05-19T20:29:29.011" v="892" actId="478"/>
          <ac:spMkLst>
            <pc:docMk/>
            <pc:sldMk cId="1595957738" sldId="2145709216"/>
            <ac:spMk id="4" creationId="{2A5BA955-539D-D8EC-E6F1-BF9DFC8F1FD1}"/>
          </ac:spMkLst>
        </pc:spChg>
        <pc:spChg chg="del">
          <ac:chgData name="Kathrin Lara Schmidt" userId="cc86c408-88c1-4a0c-884d-b0583cf7cce4" providerId="ADAL" clId="{A6581867-C849-4C47-AB5E-D049DEBE140D}" dt="2022-05-19T20:29:27.222" v="891" actId="478"/>
          <ac:spMkLst>
            <pc:docMk/>
            <pc:sldMk cId="1595957738" sldId="2145709216"/>
            <ac:spMk id="5" creationId="{F36C395D-236F-3D46-9B82-6021C1FC5BE6}"/>
          </ac:spMkLst>
        </pc:spChg>
        <pc:spChg chg="add del">
          <ac:chgData name="Kathrin Lara Schmidt" userId="cc86c408-88c1-4a0c-884d-b0583cf7cce4" providerId="ADAL" clId="{A6581867-C849-4C47-AB5E-D049DEBE140D}" dt="2022-05-19T20:29:47.534" v="899" actId="478"/>
          <ac:spMkLst>
            <pc:docMk/>
            <pc:sldMk cId="1595957738" sldId="2145709216"/>
            <ac:spMk id="10" creationId="{4693D9E4-A748-0941-AB81-E5DD882C4A2D}"/>
          </ac:spMkLst>
        </pc:spChg>
        <pc:spChg chg="del">
          <ac:chgData name="Kathrin Lara Schmidt" userId="cc86c408-88c1-4a0c-884d-b0583cf7cce4" providerId="ADAL" clId="{A6581867-C849-4C47-AB5E-D049DEBE140D}" dt="2022-05-19T20:29:45.766" v="897" actId="478"/>
          <ac:spMkLst>
            <pc:docMk/>
            <pc:sldMk cId="1595957738" sldId="2145709216"/>
            <ac:spMk id="12" creationId="{19BC212D-F58F-7940-9412-C5EE31C297AA}"/>
          </ac:spMkLst>
        </pc:spChg>
        <pc:spChg chg="del">
          <ac:chgData name="Kathrin Lara Schmidt" userId="cc86c408-88c1-4a0c-884d-b0583cf7cce4" providerId="ADAL" clId="{A6581867-C849-4C47-AB5E-D049DEBE140D}" dt="2022-05-19T20:29:46.552" v="898" actId="478"/>
          <ac:spMkLst>
            <pc:docMk/>
            <pc:sldMk cId="1595957738" sldId="2145709216"/>
            <ac:spMk id="13" creationId="{04EA4BD0-9E08-F145-827E-BDEE8FCE91C4}"/>
          </ac:spMkLst>
        </pc:spChg>
        <pc:spChg chg="del">
          <ac:chgData name="Kathrin Lara Schmidt" userId="cc86c408-88c1-4a0c-884d-b0583cf7cce4" providerId="ADAL" clId="{A6581867-C849-4C47-AB5E-D049DEBE140D}" dt="2022-05-19T20:29:41.295" v="894" actId="478"/>
          <ac:spMkLst>
            <pc:docMk/>
            <pc:sldMk cId="1595957738" sldId="2145709216"/>
            <ac:spMk id="14" creationId="{39D0A744-E32D-4D41-A866-8787252F9E28}"/>
          </ac:spMkLst>
        </pc:spChg>
        <pc:spChg chg="del mod">
          <ac:chgData name="Kathrin Lara Schmidt" userId="cc86c408-88c1-4a0c-884d-b0583cf7cce4" providerId="ADAL" clId="{A6581867-C849-4C47-AB5E-D049DEBE140D}" dt="2022-05-19T20:29:21.178" v="889" actId="478"/>
          <ac:spMkLst>
            <pc:docMk/>
            <pc:sldMk cId="1595957738" sldId="2145709216"/>
            <ac:spMk id="17" creationId="{E063BA23-13EB-C295-6AA1-3395CCB44067}"/>
          </ac:spMkLst>
        </pc:spChg>
        <pc:spChg chg="add mod">
          <ac:chgData name="Kathrin Lara Schmidt" userId="cc86c408-88c1-4a0c-884d-b0583cf7cce4" providerId="ADAL" clId="{A6581867-C849-4C47-AB5E-D049DEBE140D}" dt="2022-05-19T20:51:17.418" v="1270" actId="1076"/>
          <ac:spMkLst>
            <pc:docMk/>
            <pc:sldMk cId="1595957738" sldId="2145709216"/>
            <ac:spMk id="20" creationId="{84129BD8-4039-FDF0-A9A3-42BCBAF79A44}"/>
          </ac:spMkLst>
        </pc:spChg>
        <pc:spChg chg="add mod">
          <ac:chgData name="Kathrin Lara Schmidt" userId="cc86c408-88c1-4a0c-884d-b0583cf7cce4" providerId="ADAL" clId="{A6581867-C849-4C47-AB5E-D049DEBE140D}" dt="2022-05-19T20:51:26.046" v="1271" actId="1076"/>
          <ac:spMkLst>
            <pc:docMk/>
            <pc:sldMk cId="1595957738" sldId="2145709216"/>
            <ac:spMk id="21" creationId="{BEBF1D8B-AF12-6FCA-F2A5-AF2C5659FD99}"/>
          </ac:spMkLst>
        </pc:spChg>
        <pc:spChg chg="add mod">
          <ac:chgData name="Kathrin Lara Schmidt" userId="cc86c408-88c1-4a0c-884d-b0583cf7cce4" providerId="ADAL" clId="{A6581867-C849-4C47-AB5E-D049DEBE140D}" dt="2022-05-19T20:41:14.854" v="1145" actId="164"/>
          <ac:spMkLst>
            <pc:docMk/>
            <pc:sldMk cId="1595957738" sldId="2145709216"/>
            <ac:spMk id="22" creationId="{CED6C9E8-2AC3-E8E1-BF1D-A9F8FD5B3DDE}"/>
          </ac:spMkLst>
        </pc:spChg>
        <pc:spChg chg="add mod">
          <ac:chgData name="Kathrin Lara Schmidt" userId="cc86c408-88c1-4a0c-884d-b0583cf7cce4" providerId="ADAL" clId="{A6581867-C849-4C47-AB5E-D049DEBE140D}" dt="2022-05-19T20:48:44.686" v="1236" actId="14100"/>
          <ac:spMkLst>
            <pc:docMk/>
            <pc:sldMk cId="1595957738" sldId="2145709216"/>
            <ac:spMk id="25" creationId="{766A0FC8-5B2E-90EF-11ED-2ADB70189AFD}"/>
          </ac:spMkLst>
        </pc:spChg>
        <pc:spChg chg="add mod">
          <ac:chgData name="Kathrin Lara Schmidt" userId="cc86c408-88c1-4a0c-884d-b0583cf7cce4" providerId="ADAL" clId="{A6581867-C849-4C47-AB5E-D049DEBE140D}" dt="2022-05-19T20:49:12.959" v="1240" actId="1076"/>
          <ac:spMkLst>
            <pc:docMk/>
            <pc:sldMk cId="1595957738" sldId="2145709216"/>
            <ac:spMk id="26" creationId="{BEA86D02-73E1-36C2-32A6-B2FFB88B266D}"/>
          </ac:spMkLst>
        </pc:spChg>
        <pc:spChg chg="add mod">
          <ac:chgData name="Kathrin Lara Schmidt" userId="cc86c408-88c1-4a0c-884d-b0583cf7cce4" providerId="ADAL" clId="{A6581867-C849-4C47-AB5E-D049DEBE140D}" dt="2022-05-19T20:50:54.066" v="1265" actId="20577"/>
          <ac:spMkLst>
            <pc:docMk/>
            <pc:sldMk cId="1595957738" sldId="2145709216"/>
            <ac:spMk id="27" creationId="{F011F34B-44A5-A5F7-E1A4-C6B500E49EBB}"/>
          </ac:spMkLst>
        </pc:spChg>
        <pc:spChg chg="mod">
          <ac:chgData name="Kathrin Lara Schmidt" userId="cc86c408-88c1-4a0c-884d-b0583cf7cce4" providerId="ADAL" clId="{A6581867-C849-4C47-AB5E-D049DEBE140D}" dt="2022-05-20T11:37:13.064" v="2232" actId="20577"/>
          <ac:spMkLst>
            <pc:docMk/>
            <pc:sldMk cId="1595957738" sldId="2145709216"/>
            <ac:spMk id="28" creationId="{1707D6E5-FBC2-4348-8CCB-0F1B8C5B4AC0}"/>
          </ac:spMkLst>
        </pc:spChg>
        <pc:spChg chg="mod">
          <ac:chgData name="Kathrin Lara Schmidt" userId="cc86c408-88c1-4a0c-884d-b0583cf7cce4" providerId="ADAL" clId="{A6581867-C849-4C47-AB5E-D049DEBE140D}" dt="2022-05-20T11:39:00.115" v="2325"/>
          <ac:spMkLst>
            <pc:docMk/>
            <pc:sldMk cId="1595957738" sldId="2145709216"/>
            <ac:spMk id="29" creationId="{B2D2609A-5951-3C4F-9E53-4B325EA41E04}"/>
          </ac:spMkLst>
        </pc:spChg>
        <pc:spChg chg="mod">
          <ac:chgData name="Kathrin Lara Schmidt" userId="cc86c408-88c1-4a0c-884d-b0583cf7cce4" providerId="ADAL" clId="{A6581867-C849-4C47-AB5E-D049DEBE140D}" dt="2022-05-19T21:08:41.939" v="1711" actId="20577"/>
          <ac:spMkLst>
            <pc:docMk/>
            <pc:sldMk cId="1595957738" sldId="2145709216"/>
            <ac:spMk id="30" creationId="{37A31358-C64D-BA4B-B76C-08DCCEFFF2BF}"/>
          </ac:spMkLst>
        </pc:spChg>
        <pc:spChg chg="add mod">
          <ac:chgData name="Kathrin Lara Schmidt" userId="cc86c408-88c1-4a0c-884d-b0583cf7cce4" providerId="ADAL" clId="{A6581867-C849-4C47-AB5E-D049DEBE140D}" dt="2022-05-19T20:51:31.928" v="1277" actId="1038"/>
          <ac:spMkLst>
            <pc:docMk/>
            <pc:sldMk cId="1595957738" sldId="2145709216"/>
            <ac:spMk id="31" creationId="{D4A7E024-AED3-5049-1D7B-D43CCA733BB5}"/>
          </ac:spMkLst>
        </pc:spChg>
        <pc:spChg chg="add mod">
          <ac:chgData name="Kathrin Lara Schmidt" userId="cc86c408-88c1-4a0c-884d-b0583cf7cce4" providerId="ADAL" clId="{A6581867-C849-4C47-AB5E-D049DEBE140D}" dt="2022-05-19T20:50:57.768" v="1267" actId="20577"/>
          <ac:spMkLst>
            <pc:docMk/>
            <pc:sldMk cId="1595957738" sldId="2145709216"/>
            <ac:spMk id="32" creationId="{261F4EA7-95A7-1A6D-5944-9E9642C52C8B}"/>
          </ac:spMkLst>
        </pc:spChg>
        <pc:spChg chg="add mod">
          <ac:chgData name="Kathrin Lara Schmidt" userId="cc86c408-88c1-4a0c-884d-b0583cf7cce4" providerId="ADAL" clId="{A6581867-C849-4C47-AB5E-D049DEBE140D}" dt="2022-05-19T20:51:17.418" v="1270" actId="1076"/>
          <ac:spMkLst>
            <pc:docMk/>
            <pc:sldMk cId="1595957738" sldId="2145709216"/>
            <ac:spMk id="33" creationId="{B8548B8D-C409-928A-5648-72959A201276}"/>
          </ac:spMkLst>
        </pc:spChg>
        <pc:grpChg chg="add mod">
          <ac:chgData name="Kathrin Lara Schmidt" userId="cc86c408-88c1-4a0c-884d-b0583cf7cce4" providerId="ADAL" clId="{A6581867-C849-4C47-AB5E-D049DEBE140D}" dt="2022-05-19T20:42:57.230" v="1154" actId="1076"/>
          <ac:grpSpMkLst>
            <pc:docMk/>
            <pc:sldMk cId="1595957738" sldId="2145709216"/>
            <ac:grpSpMk id="6" creationId="{2FBCAADD-2049-E5C8-3D58-BE8628408ECD}"/>
          </ac:grpSpMkLst>
        </pc:grpChg>
        <pc:graphicFrameChg chg="del">
          <ac:chgData name="Kathrin Lara Schmidt" userId="cc86c408-88c1-4a0c-884d-b0583cf7cce4" providerId="ADAL" clId="{A6581867-C849-4C47-AB5E-D049DEBE140D}" dt="2022-05-19T20:29:38.815" v="893" actId="478"/>
          <ac:graphicFrameMkLst>
            <pc:docMk/>
            <pc:sldMk cId="1595957738" sldId="2145709216"/>
            <ac:graphicFrameMk id="2" creationId="{92548037-381F-DEF4-61A5-62618C114173}"/>
          </ac:graphicFrameMkLst>
        </pc:graphicFrameChg>
        <pc:picChg chg="del">
          <ac:chgData name="Kathrin Lara Schmidt" userId="cc86c408-88c1-4a0c-884d-b0583cf7cce4" providerId="ADAL" clId="{A6581867-C849-4C47-AB5E-D049DEBE140D}" dt="2022-05-19T20:29:16.493" v="886" actId="478"/>
          <ac:picMkLst>
            <pc:docMk/>
            <pc:sldMk cId="1595957738" sldId="2145709216"/>
            <ac:picMk id="8" creationId="{C6C69613-BE28-20E1-139C-B4EB4044B802}"/>
          </ac:picMkLst>
        </pc:picChg>
        <pc:cxnChg chg="del">
          <ac:chgData name="Kathrin Lara Schmidt" userId="cc86c408-88c1-4a0c-884d-b0583cf7cce4" providerId="ADAL" clId="{A6581867-C849-4C47-AB5E-D049DEBE140D}" dt="2022-05-19T20:29:21.832" v="890" actId="478"/>
          <ac:cxnSpMkLst>
            <pc:docMk/>
            <pc:sldMk cId="1595957738" sldId="2145709216"/>
            <ac:cxnSpMk id="18" creationId="{88CDA319-D1CD-5567-4D1D-8DA206D1F47F}"/>
          </ac:cxnSpMkLst>
        </pc:cxnChg>
        <pc:cxnChg chg="del">
          <ac:chgData name="Kathrin Lara Schmidt" userId="cc86c408-88c1-4a0c-884d-b0583cf7cce4" providerId="ADAL" clId="{A6581867-C849-4C47-AB5E-D049DEBE140D}" dt="2022-05-19T20:29:19.024" v="888" actId="478"/>
          <ac:cxnSpMkLst>
            <pc:docMk/>
            <pc:sldMk cId="1595957738" sldId="2145709216"/>
            <ac:cxnSpMk id="19" creationId="{7B33B9FC-7E41-80B5-A258-F848E8749B6E}"/>
          </ac:cxnSpMkLst>
        </pc:cxnChg>
        <pc:cxnChg chg="add mod">
          <ac:chgData name="Kathrin Lara Schmidt" userId="cc86c408-88c1-4a0c-884d-b0583cf7cce4" providerId="ADAL" clId="{A6581867-C849-4C47-AB5E-D049DEBE140D}" dt="2022-05-19T20:41:14.854" v="1145" actId="164"/>
          <ac:cxnSpMkLst>
            <pc:docMk/>
            <pc:sldMk cId="1595957738" sldId="2145709216"/>
            <ac:cxnSpMk id="23" creationId="{482459BB-E0C8-61BF-F856-FC43F31FBB17}"/>
          </ac:cxnSpMkLst>
        </pc:cxnChg>
        <pc:cxnChg chg="add mod">
          <ac:chgData name="Kathrin Lara Schmidt" userId="cc86c408-88c1-4a0c-884d-b0583cf7cce4" providerId="ADAL" clId="{A6581867-C849-4C47-AB5E-D049DEBE140D}" dt="2022-05-19T20:41:14.854" v="1145" actId="164"/>
          <ac:cxnSpMkLst>
            <pc:docMk/>
            <pc:sldMk cId="1595957738" sldId="2145709216"/>
            <ac:cxnSpMk id="24" creationId="{0A809B64-568C-59B7-0F28-BF6D1DC38BAF}"/>
          </ac:cxnSpMkLst>
        </pc:cxnChg>
      </pc:sldChg>
      <pc:sldChg chg="addSp delSp modSp add mod">
        <pc:chgData name="Kathrin Lara Schmidt" userId="cc86c408-88c1-4a0c-884d-b0583cf7cce4" providerId="ADAL" clId="{A6581867-C849-4C47-AB5E-D049DEBE140D}" dt="2022-05-22T23:15:46.963" v="4129" actId="113"/>
        <pc:sldMkLst>
          <pc:docMk/>
          <pc:sldMk cId="2253695690" sldId="2145709217"/>
        </pc:sldMkLst>
        <pc:spChg chg="add mod">
          <ac:chgData name="Kathrin Lara Schmidt" userId="cc86c408-88c1-4a0c-884d-b0583cf7cce4" providerId="ADAL" clId="{A6581867-C849-4C47-AB5E-D049DEBE140D}" dt="2022-05-19T20:59:49.294" v="1467" actId="14100"/>
          <ac:spMkLst>
            <pc:docMk/>
            <pc:sldMk cId="2253695690" sldId="2145709217"/>
            <ac:spMk id="3" creationId="{71D0C950-14CE-0D07-820A-4B0CF437B7CD}"/>
          </ac:spMkLst>
        </pc:spChg>
        <pc:spChg chg="add mod">
          <ac:chgData name="Kathrin Lara Schmidt" userId="cc86c408-88c1-4a0c-884d-b0583cf7cce4" providerId="ADAL" clId="{A6581867-C849-4C47-AB5E-D049DEBE140D}" dt="2022-05-22T23:02:23.943" v="3743" actId="113"/>
          <ac:spMkLst>
            <pc:docMk/>
            <pc:sldMk cId="2253695690" sldId="2145709217"/>
            <ac:spMk id="18" creationId="{FE203788-E264-4F37-F045-D48A535AD51C}"/>
          </ac:spMkLst>
        </pc:spChg>
        <pc:spChg chg="add mod ord">
          <ac:chgData name="Kathrin Lara Schmidt" userId="cc86c408-88c1-4a0c-884d-b0583cf7cce4" providerId="ADAL" clId="{A6581867-C849-4C47-AB5E-D049DEBE140D}" dt="2022-05-22T23:15:46.963" v="4129" actId="113"/>
          <ac:spMkLst>
            <pc:docMk/>
            <pc:sldMk cId="2253695690" sldId="2145709217"/>
            <ac:spMk id="19" creationId="{C96DBAC9-349E-2B66-E3AE-07307A88BCE8}"/>
          </ac:spMkLst>
        </pc:spChg>
        <pc:spChg chg="del">
          <ac:chgData name="Kathrin Lara Schmidt" userId="cc86c408-88c1-4a0c-884d-b0583cf7cce4" providerId="ADAL" clId="{A6581867-C849-4C47-AB5E-D049DEBE140D}" dt="2022-05-19T20:54:42.722" v="1301" actId="478"/>
          <ac:spMkLst>
            <pc:docMk/>
            <pc:sldMk cId="2253695690" sldId="2145709217"/>
            <ac:spMk id="20" creationId="{84129BD8-4039-FDF0-A9A3-42BCBAF79A44}"/>
          </ac:spMkLst>
        </pc:spChg>
        <pc:spChg chg="del">
          <ac:chgData name="Kathrin Lara Schmidt" userId="cc86c408-88c1-4a0c-884d-b0583cf7cce4" providerId="ADAL" clId="{A6581867-C849-4C47-AB5E-D049DEBE140D}" dt="2022-05-19T20:54:46.580" v="1302" actId="478"/>
          <ac:spMkLst>
            <pc:docMk/>
            <pc:sldMk cId="2253695690" sldId="2145709217"/>
            <ac:spMk id="21" creationId="{BEBF1D8B-AF12-6FCA-F2A5-AF2C5659FD99}"/>
          </ac:spMkLst>
        </pc:spChg>
        <pc:spChg chg="mod ord topLvl">
          <ac:chgData name="Kathrin Lara Schmidt" userId="cc86c408-88c1-4a0c-884d-b0583cf7cce4" providerId="ADAL" clId="{A6581867-C849-4C47-AB5E-D049DEBE140D}" dt="2022-05-19T20:58:06.698" v="1443" actId="166"/>
          <ac:spMkLst>
            <pc:docMk/>
            <pc:sldMk cId="2253695690" sldId="2145709217"/>
            <ac:spMk id="22" creationId="{CED6C9E8-2AC3-E8E1-BF1D-A9F8FD5B3DDE}"/>
          </ac:spMkLst>
        </pc:spChg>
        <pc:spChg chg="del">
          <ac:chgData name="Kathrin Lara Schmidt" userId="cc86c408-88c1-4a0c-884d-b0583cf7cce4" providerId="ADAL" clId="{A6581867-C849-4C47-AB5E-D049DEBE140D}" dt="2022-05-19T20:54:42.722" v="1301" actId="478"/>
          <ac:spMkLst>
            <pc:docMk/>
            <pc:sldMk cId="2253695690" sldId="2145709217"/>
            <ac:spMk id="25" creationId="{766A0FC8-5B2E-90EF-11ED-2ADB70189AFD}"/>
          </ac:spMkLst>
        </pc:spChg>
        <pc:spChg chg="del">
          <ac:chgData name="Kathrin Lara Schmidt" userId="cc86c408-88c1-4a0c-884d-b0583cf7cce4" providerId="ADAL" clId="{A6581867-C849-4C47-AB5E-D049DEBE140D}" dt="2022-05-19T20:54:46.580" v="1302" actId="478"/>
          <ac:spMkLst>
            <pc:docMk/>
            <pc:sldMk cId="2253695690" sldId="2145709217"/>
            <ac:spMk id="26" creationId="{BEA86D02-73E1-36C2-32A6-B2FFB88B266D}"/>
          </ac:spMkLst>
        </pc:spChg>
        <pc:spChg chg="del">
          <ac:chgData name="Kathrin Lara Schmidt" userId="cc86c408-88c1-4a0c-884d-b0583cf7cce4" providerId="ADAL" clId="{A6581867-C849-4C47-AB5E-D049DEBE140D}" dt="2022-05-19T20:54:46.580" v="1302" actId="478"/>
          <ac:spMkLst>
            <pc:docMk/>
            <pc:sldMk cId="2253695690" sldId="2145709217"/>
            <ac:spMk id="27" creationId="{F011F34B-44A5-A5F7-E1A4-C6B500E49EBB}"/>
          </ac:spMkLst>
        </pc:spChg>
        <pc:spChg chg="mod">
          <ac:chgData name="Kathrin Lara Schmidt" userId="cc86c408-88c1-4a0c-884d-b0583cf7cce4" providerId="ADAL" clId="{A6581867-C849-4C47-AB5E-D049DEBE140D}" dt="2022-05-20T11:38:37.557" v="2323" actId="20577"/>
          <ac:spMkLst>
            <pc:docMk/>
            <pc:sldMk cId="2253695690" sldId="2145709217"/>
            <ac:spMk id="29" creationId="{B2D2609A-5951-3C4F-9E53-4B325EA41E04}"/>
          </ac:spMkLst>
        </pc:spChg>
        <pc:spChg chg="mod">
          <ac:chgData name="Kathrin Lara Schmidt" userId="cc86c408-88c1-4a0c-884d-b0583cf7cce4" providerId="ADAL" clId="{A6581867-C849-4C47-AB5E-D049DEBE140D}" dt="2022-05-19T21:08:32.817" v="1707" actId="20577"/>
          <ac:spMkLst>
            <pc:docMk/>
            <pc:sldMk cId="2253695690" sldId="2145709217"/>
            <ac:spMk id="30" creationId="{37A31358-C64D-BA4B-B76C-08DCCEFFF2BF}"/>
          </ac:spMkLst>
        </pc:spChg>
        <pc:spChg chg="del">
          <ac:chgData name="Kathrin Lara Schmidt" userId="cc86c408-88c1-4a0c-884d-b0583cf7cce4" providerId="ADAL" clId="{A6581867-C849-4C47-AB5E-D049DEBE140D}" dt="2022-05-19T20:54:46.580" v="1302" actId="478"/>
          <ac:spMkLst>
            <pc:docMk/>
            <pc:sldMk cId="2253695690" sldId="2145709217"/>
            <ac:spMk id="31" creationId="{D4A7E024-AED3-5049-1D7B-D43CCA733BB5}"/>
          </ac:spMkLst>
        </pc:spChg>
        <pc:spChg chg="del">
          <ac:chgData name="Kathrin Lara Schmidt" userId="cc86c408-88c1-4a0c-884d-b0583cf7cce4" providerId="ADAL" clId="{A6581867-C849-4C47-AB5E-D049DEBE140D}" dt="2022-05-19T20:54:42.722" v="1301" actId="478"/>
          <ac:spMkLst>
            <pc:docMk/>
            <pc:sldMk cId="2253695690" sldId="2145709217"/>
            <ac:spMk id="32" creationId="{261F4EA7-95A7-1A6D-5944-9E9642C52C8B}"/>
          </ac:spMkLst>
        </pc:spChg>
        <pc:spChg chg="del">
          <ac:chgData name="Kathrin Lara Schmidt" userId="cc86c408-88c1-4a0c-884d-b0583cf7cce4" providerId="ADAL" clId="{A6581867-C849-4C47-AB5E-D049DEBE140D}" dt="2022-05-19T20:54:42.722" v="1301" actId="478"/>
          <ac:spMkLst>
            <pc:docMk/>
            <pc:sldMk cId="2253695690" sldId="2145709217"/>
            <ac:spMk id="33" creationId="{B8548B8D-C409-928A-5648-72959A201276}"/>
          </ac:spMkLst>
        </pc:spChg>
        <pc:spChg chg="add mod">
          <ac:chgData name="Kathrin Lara Schmidt" userId="cc86c408-88c1-4a0c-884d-b0583cf7cce4" providerId="ADAL" clId="{A6581867-C849-4C47-AB5E-D049DEBE140D}" dt="2022-05-19T20:59:45.178" v="1466" actId="14100"/>
          <ac:spMkLst>
            <pc:docMk/>
            <pc:sldMk cId="2253695690" sldId="2145709217"/>
            <ac:spMk id="34" creationId="{07BF0C25-48C4-A9FD-3D15-F77D071B581E}"/>
          </ac:spMkLst>
        </pc:spChg>
        <pc:grpChg chg="add mod ord">
          <ac:chgData name="Kathrin Lara Schmidt" userId="cc86c408-88c1-4a0c-884d-b0583cf7cce4" providerId="ADAL" clId="{A6581867-C849-4C47-AB5E-D049DEBE140D}" dt="2022-05-19T20:59:57.630" v="1483" actId="1035"/>
          <ac:grpSpMkLst>
            <pc:docMk/>
            <pc:sldMk cId="2253695690" sldId="2145709217"/>
            <ac:grpSpMk id="2" creationId="{9CA63BA6-296E-71C5-87D8-1DB1E6E1127E}"/>
          </ac:grpSpMkLst>
        </pc:grpChg>
        <pc:grpChg chg="del">
          <ac:chgData name="Kathrin Lara Schmidt" userId="cc86c408-88c1-4a0c-884d-b0583cf7cce4" providerId="ADAL" clId="{A6581867-C849-4C47-AB5E-D049DEBE140D}" dt="2022-05-19T20:54:57.345" v="1303" actId="165"/>
          <ac:grpSpMkLst>
            <pc:docMk/>
            <pc:sldMk cId="2253695690" sldId="2145709217"/>
            <ac:grpSpMk id="6" creationId="{2FBCAADD-2049-E5C8-3D58-BE8628408ECD}"/>
          </ac:grpSpMkLst>
        </pc:grpChg>
        <pc:cxnChg chg="mod topLvl">
          <ac:chgData name="Kathrin Lara Schmidt" userId="cc86c408-88c1-4a0c-884d-b0583cf7cce4" providerId="ADAL" clId="{A6581867-C849-4C47-AB5E-D049DEBE140D}" dt="2022-05-19T20:55:36.265" v="1418" actId="164"/>
          <ac:cxnSpMkLst>
            <pc:docMk/>
            <pc:sldMk cId="2253695690" sldId="2145709217"/>
            <ac:cxnSpMk id="23" creationId="{482459BB-E0C8-61BF-F856-FC43F31FBB17}"/>
          </ac:cxnSpMkLst>
        </pc:cxnChg>
        <pc:cxnChg chg="mod topLvl">
          <ac:chgData name="Kathrin Lara Schmidt" userId="cc86c408-88c1-4a0c-884d-b0583cf7cce4" providerId="ADAL" clId="{A6581867-C849-4C47-AB5E-D049DEBE140D}" dt="2022-05-19T20:55:36.265" v="1418" actId="164"/>
          <ac:cxnSpMkLst>
            <pc:docMk/>
            <pc:sldMk cId="2253695690" sldId="2145709217"/>
            <ac:cxnSpMk id="24" creationId="{0A809B64-568C-59B7-0F28-BF6D1DC38BAF}"/>
          </ac:cxnSpMkLst>
        </pc:cxnChg>
      </pc:sldChg>
      <pc:sldChg chg="addSp delSp modSp add mod ord">
        <pc:chgData name="Kathrin Lara Schmidt" userId="cc86c408-88c1-4a0c-884d-b0583cf7cce4" providerId="ADAL" clId="{A6581867-C849-4C47-AB5E-D049DEBE140D}" dt="2022-05-22T17:49:12.629" v="3736" actId="790"/>
        <pc:sldMkLst>
          <pc:docMk/>
          <pc:sldMk cId="2160694419" sldId="2145709218"/>
        </pc:sldMkLst>
        <pc:spChg chg="add del mod">
          <ac:chgData name="Kathrin Lara Schmidt" userId="cc86c408-88c1-4a0c-884d-b0583cf7cce4" providerId="ADAL" clId="{A6581867-C849-4C47-AB5E-D049DEBE140D}" dt="2022-05-19T21:09:24.694" v="1736" actId="478"/>
          <ac:spMkLst>
            <pc:docMk/>
            <pc:sldMk cId="2160694419" sldId="2145709218"/>
            <ac:spMk id="2" creationId="{932EE30D-7AE4-FDCD-4F9B-CE97FD01A632}"/>
          </ac:spMkLst>
        </pc:spChg>
        <pc:spChg chg="del">
          <ac:chgData name="Kathrin Lara Schmidt" userId="cc86c408-88c1-4a0c-884d-b0583cf7cce4" providerId="ADAL" clId="{A6581867-C849-4C47-AB5E-D049DEBE140D}" dt="2022-05-19T21:09:06.950" v="1726" actId="478"/>
          <ac:spMkLst>
            <pc:docMk/>
            <pc:sldMk cId="2160694419" sldId="2145709218"/>
            <ac:spMk id="5" creationId="{F36C395D-236F-3D46-9B82-6021C1FC5BE6}"/>
          </ac:spMkLst>
        </pc:spChg>
        <pc:spChg chg="add mod">
          <ac:chgData name="Kathrin Lara Schmidt" userId="cc86c408-88c1-4a0c-884d-b0583cf7cce4" providerId="ADAL" clId="{A6581867-C849-4C47-AB5E-D049DEBE140D}" dt="2022-05-22T16:15:06.322" v="3131" actId="12789"/>
          <ac:spMkLst>
            <pc:docMk/>
            <pc:sldMk cId="2160694419" sldId="2145709218"/>
            <ac:spMk id="7" creationId="{CA2058AA-F465-139E-5706-4905970602AB}"/>
          </ac:spMkLst>
        </pc:spChg>
        <pc:spChg chg="add del mod">
          <ac:chgData name="Kathrin Lara Schmidt" userId="cc86c408-88c1-4a0c-884d-b0583cf7cce4" providerId="ADAL" clId="{A6581867-C849-4C47-AB5E-D049DEBE140D}" dt="2022-05-19T21:12:51.270" v="1784" actId="478"/>
          <ac:spMkLst>
            <pc:docMk/>
            <pc:sldMk cId="2160694419" sldId="2145709218"/>
            <ac:spMk id="8" creationId="{F42CAB3A-C578-AD83-26C0-EE4104D942A2}"/>
          </ac:spMkLst>
        </pc:spChg>
        <pc:spChg chg="add mod">
          <ac:chgData name="Kathrin Lara Schmidt" userId="cc86c408-88c1-4a0c-884d-b0583cf7cce4" providerId="ADAL" clId="{A6581867-C849-4C47-AB5E-D049DEBE140D}" dt="2022-05-22T16:15:17.271" v="3133" actId="20577"/>
          <ac:spMkLst>
            <pc:docMk/>
            <pc:sldMk cId="2160694419" sldId="2145709218"/>
            <ac:spMk id="9" creationId="{AC0EF920-EAF8-FC7B-A09F-AF2D53847892}"/>
          </ac:spMkLst>
        </pc:spChg>
        <pc:spChg chg="add mod">
          <ac:chgData name="Kathrin Lara Schmidt" userId="cc86c408-88c1-4a0c-884d-b0583cf7cce4" providerId="ADAL" clId="{A6581867-C849-4C47-AB5E-D049DEBE140D}" dt="2022-05-22T16:11:59.188" v="3093" actId="1076"/>
          <ac:spMkLst>
            <pc:docMk/>
            <pc:sldMk cId="2160694419" sldId="2145709218"/>
            <ac:spMk id="10" creationId="{305FD421-CFE0-1415-262F-454CFAA63B01}"/>
          </ac:spMkLst>
        </pc:spChg>
        <pc:spChg chg="add del mod">
          <ac:chgData name="Kathrin Lara Schmidt" userId="cc86c408-88c1-4a0c-884d-b0583cf7cce4" providerId="ADAL" clId="{A6581867-C849-4C47-AB5E-D049DEBE140D}" dt="2022-05-19T21:12:52.027" v="1785" actId="478"/>
          <ac:spMkLst>
            <pc:docMk/>
            <pc:sldMk cId="2160694419" sldId="2145709218"/>
            <ac:spMk id="11" creationId="{99D33B71-B944-A40D-A72A-D80C563A63A7}"/>
          </ac:spMkLst>
        </pc:spChg>
        <pc:spChg chg="add mod">
          <ac:chgData name="Kathrin Lara Schmidt" userId="cc86c408-88c1-4a0c-884d-b0583cf7cce4" providerId="ADAL" clId="{A6581867-C849-4C47-AB5E-D049DEBE140D}" dt="2022-05-22T16:20:57.925" v="3295" actId="113"/>
          <ac:spMkLst>
            <pc:docMk/>
            <pc:sldMk cId="2160694419" sldId="2145709218"/>
            <ac:spMk id="12" creationId="{E9DEC249-F6D1-C6BF-4406-B3BDA25DE682}"/>
          </ac:spMkLst>
        </pc:spChg>
        <pc:spChg chg="add mod">
          <ac:chgData name="Kathrin Lara Schmidt" userId="cc86c408-88c1-4a0c-884d-b0583cf7cce4" providerId="ADAL" clId="{A6581867-C849-4C47-AB5E-D049DEBE140D}" dt="2022-05-22T16:11:59.188" v="3093" actId="1076"/>
          <ac:spMkLst>
            <pc:docMk/>
            <pc:sldMk cId="2160694419" sldId="2145709218"/>
            <ac:spMk id="13" creationId="{D33D18CC-9CA6-B38F-FE56-D7D66A6C9125}"/>
          </ac:spMkLst>
        </pc:spChg>
        <pc:spChg chg="add del mod">
          <ac:chgData name="Kathrin Lara Schmidt" userId="cc86c408-88c1-4a0c-884d-b0583cf7cce4" providerId="ADAL" clId="{A6581867-C849-4C47-AB5E-D049DEBE140D}" dt="2022-05-19T21:12:52.908" v="1786" actId="478"/>
          <ac:spMkLst>
            <pc:docMk/>
            <pc:sldMk cId="2160694419" sldId="2145709218"/>
            <ac:spMk id="14" creationId="{38AC50C3-3B9C-7AB4-EE4D-6862BA789F09}"/>
          </ac:spMkLst>
        </pc:spChg>
        <pc:spChg chg="add mod">
          <ac:chgData name="Kathrin Lara Schmidt" userId="cc86c408-88c1-4a0c-884d-b0583cf7cce4" providerId="ADAL" clId="{A6581867-C849-4C47-AB5E-D049DEBE140D}" dt="2022-05-22T16:29:25.581" v="3462" actId="313"/>
          <ac:spMkLst>
            <pc:docMk/>
            <pc:sldMk cId="2160694419" sldId="2145709218"/>
            <ac:spMk id="15" creationId="{16652FB5-1F06-828E-B01A-A94309B9346C}"/>
          </ac:spMkLst>
        </pc:spChg>
        <pc:spChg chg="mod topLvl">
          <ac:chgData name="Kathrin Lara Schmidt" userId="cc86c408-88c1-4a0c-884d-b0583cf7cce4" providerId="ADAL" clId="{A6581867-C849-4C47-AB5E-D049DEBE140D}" dt="2022-05-19T21:10:40.020" v="1753" actId="164"/>
          <ac:spMkLst>
            <pc:docMk/>
            <pc:sldMk cId="2160694419" sldId="2145709218"/>
            <ac:spMk id="20" creationId="{9CECAFA6-189F-98D3-4422-FF5B69D44C61}"/>
          </ac:spMkLst>
        </pc:spChg>
        <pc:spChg chg="add mod">
          <ac:chgData name="Kathrin Lara Schmidt" userId="cc86c408-88c1-4a0c-884d-b0583cf7cce4" providerId="ADAL" clId="{A6581867-C849-4C47-AB5E-D049DEBE140D}" dt="2022-05-22T16:11:59.188" v="3093" actId="1076"/>
          <ac:spMkLst>
            <pc:docMk/>
            <pc:sldMk cId="2160694419" sldId="2145709218"/>
            <ac:spMk id="24" creationId="{54B9879E-848D-E613-3E08-E9CAB989F70F}"/>
          </ac:spMkLst>
        </pc:spChg>
        <pc:spChg chg="add del mod">
          <ac:chgData name="Kathrin Lara Schmidt" userId="cc86c408-88c1-4a0c-884d-b0583cf7cce4" providerId="ADAL" clId="{A6581867-C849-4C47-AB5E-D049DEBE140D}" dt="2022-05-19T21:13:24.932" v="1808" actId="478"/>
          <ac:spMkLst>
            <pc:docMk/>
            <pc:sldMk cId="2160694419" sldId="2145709218"/>
            <ac:spMk id="25" creationId="{9DB33CCD-54CA-5458-54F3-FE6C2560A03E}"/>
          </ac:spMkLst>
        </pc:spChg>
        <pc:spChg chg="add mod">
          <ac:chgData name="Kathrin Lara Schmidt" userId="cc86c408-88c1-4a0c-884d-b0583cf7cce4" providerId="ADAL" clId="{A6581867-C849-4C47-AB5E-D049DEBE140D}" dt="2022-05-22T16:29:14.758" v="3461" actId="790"/>
          <ac:spMkLst>
            <pc:docMk/>
            <pc:sldMk cId="2160694419" sldId="2145709218"/>
            <ac:spMk id="26" creationId="{279E9383-D6F4-68DD-52D4-20A9AE1A619E}"/>
          </ac:spMkLst>
        </pc:spChg>
        <pc:spChg chg="mod">
          <ac:chgData name="Kathrin Lara Schmidt" userId="cc86c408-88c1-4a0c-884d-b0583cf7cce4" providerId="ADAL" clId="{A6581867-C849-4C47-AB5E-D049DEBE140D}" dt="2022-05-20T11:37:34.795" v="2233"/>
          <ac:spMkLst>
            <pc:docMk/>
            <pc:sldMk cId="2160694419" sldId="2145709218"/>
            <ac:spMk id="28" creationId="{1707D6E5-FBC2-4348-8CCB-0F1B8C5B4AC0}"/>
          </ac:spMkLst>
        </pc:spChg>
        <pc:spChg chg="mod">
          <ac:chgData name="Kathrin Lara Schmidt" userId="cc86c408-88c1-4a0c-884d-b0583cf7cce4" providerId="ADAL" clId="{A6581867-C849-4C47-AB5E-D049DEBE140D}" dt="2022-05-22T17:49:12.629" v="3736" actId="790"/>
          <ac:spMkLst>
            <pc:docMk/>
            <pc:sldMk cId="2160694419" sldId="2145709218"/>
            <ac:spMk id="29" creationId="{B2D2609A-5951-3C4F-9E53-4B325EA41E04}"/>
          </ac:spMkLst>
        </pc:spChg>
        <pc:spChg chg="mod">
          <ac:chgData name="Kathrin Lara Schmidt" userId="cc86c408-88c1-4a0c-884d-b0583cf7cce4" providerId="ADAL" clId="{A6581867-C849-4C47-AB5E-D049DEBE140D}" dt="2022-05-19T21:08:49.315" v="1712"/>
          <ac:spMkLst>
            <pc:docMk/>
            <pc:sldMk cId="2160694419" sldId="2145709218"/>
            <ac:spMk id="30" creationId="{37A31358-C64D-BA4B-B76C-08DCCEFFF2BF}"/>
          </ac:spMkLst>
        </pc:spChg>
        <pc:spChg chg="add del mod">
          <ac:chgData name="Kathrin Lara Schmidt" userId="cc86c408-88c1-4a0c-884d-b0583cf7cce4" providerId="ADAL" clId="{A6581867-C849-4C47-AB5E-D049DEBE140D}" dt="2022-05-19T21:12:56.823" v="1789"/>
          <ac:spMkLst>
            <pc:docMk/>
            <pc:sldMk cId="2160694419" sldId="2145709218"/>
            <ac:spMk id="31" creationId="{3F3CB6C6-79ED-44C4-DFAD-97237B1895AF}"/>
          </ac:spMkLst>
        </pc:spChg>
        <pc:spChg chg="add mod">
          <ac:chgData name="Kathrin Lara Schmidt" userId="cc86c408-88c1-4a0c-884d-b0583cf7cce4" providerId="ADAL" clId="{A6581867-C849-4C47-AB5E-D049DEBE140D}" dt="2022-05-22T16:11:59.188" v="3093" actId="1076"/>
          <ac:spMkLst>
            <pc:docMk/>
            <pc:sldMk cId="2160694419" sldId="2145709218"/>
            <ac:spMk id="32" creationId="{91922C58-327C-394C-DA48-34275217AB9E}"/>
          </ac:spMkLst>
        </pc:spChg>
        <pc:spChg chg="add mod">
          <ac:chgData name="Kathrin Lara Schmidt" userId="cc86c408-88c1-4a0c-884d-b0583cf7cce4" providerId="ADAL" clId="{A6581867-C849-4C47-AB5E-D049DEBE140D}" dt="2022-05-22T16:11:59.188" v="3093" actId="1076"/>
          <ac:spMkLst>
            <pc:docMk/>
            <pc:sldMk cId="2160694419" sldId="2145709218"/>
            <ac:spMk id="33" creationId="{A8AABAC4-AB6E-E749-345F-2612B3EE928A}"/>
          </ac:spMkLst>
        </pc:spChg>
        <pc:spChg chg="add mod">
          <ac:chgData name="Kathrin Lara Schmidt" userId="cc86c408-88c1-4a0c-884d-b0583cf7cce4" providerId="ADAL" clId="{A6581867-C849-4C47-AB5E-D049DEBE140D}" dt="2022-05-22T16:15:06.322" v="3131" actId="12789"/>
          <ac:spMkLst>
            <pc:docMk/>
            <pc:sldMk cId="2160694419" sldId="2145709218"/>
            <ac:spMk id="34" creationId="{01D63DC0-9278-FDF7-45E4-8EE056E54EE2}"/>
          </ac:spMkLst>
        </pc:spChg>
        <pc:spChg chg="add mod">
          <ac:chgData name="Kathrin Lara Schmidt" userId="cc86c408-88c1-4a0c-884d-b0583cf7cce4" providerId="ADAL" clId="{A6581867-C849-4C47-AB5E-D049DEBE140D}" dt="2022-05-22T16:11:59.188" v="3093" actId="1076"/>
          <ac:spMkLst>
            <pc:docMk/>
            <pc:sldMk cId="2160694419" sldId="2145709218"/>
            <ac:spMk id="35" creationId="{F7291F2B-5B6B-1FD3-7395-F16E8C480C41}"/>
          </ac:spMkLst>
        </pc:spChg>
        <pc:grpChg chg="add mod">
          <ac:chgData name="Kathrin Lara Schmidt" userId="cc86c408-88c1-4a0c-884d-b0583cf7cce4" providerId="ADAL" clId="{A6581867-C849-4C47-AB5E-D049DEBE140D}" dt="2022-05-19T21:14:36.507" v="1841" actId="1076"/>
          <ac:grpSpMkLst>
            <pc:docMk/>
            <pc:sldMk cId="2160694419" sldId="2145709218"/>
            <ac:grpSpMk id="3" creationId="{8D7D289B-2252-875E-22BF-28119052E79C}"/>
          </ac:grpSpMkLst>
        </pc:grpChg>
        <pc:grpChg chg="add del mod">
          <ac:chgData name="Kathrin Lara Schmidt" userId="cc86c408-88c1-4a0c-884d-b0583cf7cce4" providerId="ADAL" clId="{A6581867-C849-4C47-AB5E-D049DEBE140D}" dt="2022-05-19T21:10:10.309" v="1741" actId="165"/>
          <ac:grpSpMkLst>
            <pc:docMk/>
            <pc:sldMk cId="2160694419" sldId="2145709218"/>
            <ac:grpSpMk id="19" creationId="{5800F664-BB94-1022-AA32-314A38DC40D2}"/>
          </ac:grpSpMkLst>
        </pc:grpChg>
        <pc:picChg chg="add del mod">
          <ac:chgData name="Kathrin Lara Schmidt" userId="cc86c408-88c1-4a0c-884d-b0583cf7cce4" providerId="ADAL" clId="{A6581867-C849-4C47-AB5E-D049DEBE140D}" dt="2022-05-19T21:12:46.954" v="1780" actId="478"/>
          <ac:picMkLst>
            <pc:docMk/>
            <pc:sldMk cId="2160694419" sldId="2145709218"/>
            <ac:picMk id="16" creationId="{CA3D4E7C-CE5D-13B1-1462-EE074FA9B54E}"/>
          </ac:picMkLst>
        </pc:picChg>
        <pc:picChg chg="add del mod">
          <ac:chgData name="Kathrin Lara Schmidt" userId="cc86c408-88c1-4a0c-884d-b0583cf7cce4" providerId="ADAL" clId="{A6581867-C849-4C47-AB5E-D049DEBE140D}" dt="2022-05-19T21:12:48.425" v="1781" actId="478"/>
          <ac:picMkLst>
            <pc:docMk/>
            <pc:sldMk cId="2160694419" sldId="2145709218"/>
            <ac:picMk id="17" creationId="{B927B1AF-0FB1-7817-7885-090EDFB84841}"/>
          </ac:picMkLst>
        </pc:picChg>
        <pc:picChg chg="add del mod">
          <ac:chgData name="Kathrin Lara Schmidt" userId="cc86c408-88c1-4a0c-884d-b0583cf7cce4" providerId="ADAL" clId="{A6581867-C849-4C47-AB5E-D049DEBE140D}" dt="2022-05-19T21:12:49.346" v="1782" actId="478"/>
          <ac:picMkLst>
            <pc:docMk/>
            <pc:sldMk cId="2160694419" sldId="2145709218"/>
            <ac:picMk id="18" creationId="{18722385-CF32-CBFC-4FA4-789BB620737C}"/>
          </ac:picMkLst>
        </pc:picChg>
        <pc:picChg chg="add del mod">
          <ac:chgData name="Kathrin Lara Schmidt" userId="cc86c408-88c1-4a0c-884d-b0583cf7cce4" providerId="ADAL" clId="{A6581867-C849-4C47-AB5E-D049DEBE140D}" dt="2022-05-19T21:12:50.129" v="1783" actId="478"/>
          <ac:picMkLst>
            <pc:docMk/>
            <pc:sldMk cId="2160694419" sldId="2145709218"/>
            <ac:picMk id="27" creationId="{AC9B775B-69A2-8AA3-1761-C52BB5601517}"/>
          </ac:picMkLst>
        </pc:picChg>
        <pc:cxnChg chg="mod topLvl">
          <ac:chgData name="Kathrin Lara Schmidt" userId="cc86c408-88c1-4a0c-884d-b0583cf7cce4" providerId="ADAL" clId="{A6581867-C849-4C47-AB5E-D049DEBE140D}" dt="2022-05-19T21:10:40.020" v="1753" actId="164"/>
          <ac:cxnSpMkLst>
            <pc:docMk/>
            <pc:sldMk cId="2160694419" sldId="2145709218"/>
            <ac:cxnSpMk id="21" creationId="{4008FE8A-034F-7682-332B-5CECAB539224}"/>
          </ac:cxnSpMkLst>
        </pc:cxnChg>
        <pc:cxnChg chg="mod topLvl">
          <ac:chgData name="Kathrin Lara Schmidt" userId="cc86c408-88c1-4a0c-884d-b0583cf7cce4" providerId="ADAL" clId="{A6581867-C849-4C47-AB5E-D049DEBE140D}" dt="2022-05-19T21:10:40.020" v="1753" actId="164"/>
          <ac:cxnSpMkLst>
            <pc:docMk/>
            <pc:sldMk cId="2160694419" sldId="2145709218"/>
            <ac:cxnSpMk id="22" creationId="{B8414982-EDEA-C8C3-CA5B-B00ACB6A670E}"/>
          </ac:cxnSpMkLst>
        </pc:cxnChg>
      </pc:sldChg>
    </pc:docChg>
  </pc:docChgLst>
  <pc:docChgLst>
    <pc:chgData name="Celine Rose Nicole Choukair" userId="99fb0bcb-3137-4cd1-9e2c-4b0bf91b42b5" providerId="ADAL" clId="{16AD05A4-D6B8-CF42-9834-DA2A8857BD70}"/>
    <pc:docChg chg="undo custSel addSld delSld modSld sldOrd">
      <pc:chgData name="Celine Rose Nicole Choukair" userId="99fb0bcb-3137-4cd1-9e2c-4b0bf91b42b5" providerId="ADAL" clId="{16AD05A4-D6B8-CF42-9834-DA2A8857BD70}" dt="2022-05-22T22:39:03.564" v="5118" actId="20577"/>
      <pc:docMkLst>
        <pc:docMk/>
      </pc:docMkLst>
      <pc:sldChg chg="addSp delSp modSp add del mod">
        <pc:chgData name="Celine Rose Nicole Choukair" userId="99fb0bcb-3137-4cd1-9e2c-4b0bf91b42b5" providerId="ADAL" clId="{16AD05A4-D6B8-CF42-9834-DA2A8857BD70}" dt="2022-05-22T22:13:07.550" v="4898" actId="2696"/>
        <pc:sldMkLst>
          <pc:docMk/>
          <pc:sldMk cId="2699002068" sldId="256"/>
        </pc:sldMkLst>
        <pc:spChg chg="mod">
          <ac:chgData name="Celine Rose Nicole Choukair" userId="99fb0bcb-3137-4cd1-9e2c-4b0bf91b42b5" providerId="ADAL" clId="{16AD05A4-D6B8-CF42-9834-DA2A8857BD70}" dt="2022-05-22T22:10:08.247" v="4735"/>
          <ac:spMkLst>
            <pc:docMk/>
            <pc:sldMk cId="2699002068" sldId="256"/>
            <ac:spMk id="2" creationId="{F6965BE5-BD75-C14E-810A-E9CF526F9000}"/>
          </ac:spMkLst>
        </pc:spChg>
        <pc:spChg chg="mod">
          <ac:chgData name="Celine Rose Nicole Choukair" userId="99fb0bcb-3137-4cd1-9e2c-4b0bf91b42b5" providerId="ADAL" clId="{16AD05A4-D6B8-CF42-9834-DA2A8857BD70}" dt="2022-05-22T22:10:08.247" v="4735"/>
          <ac:spMkLst>
            <pc:docMk/>
            <pc:sldMk cId="2699002068" sldId="256"/>
            <ac:spMk id="4" creationId="{044AD65E-4545-CA4D-B254-7B1B9BAC199D}"/>
          </ac:spMkLst>
        </pc:spChg>
        <pc:spChg chg="mod">
          <ac:chgData name="Celine Rose Nicole Choukair" userId="99fb0bcb-3137-4cd1-9e2c-4b0bf91b42b5" providerId="ADAL" clId="{16AD05A4-D6B8-CF42-9834-DA2A8857BD70}" dt="2022-05-22T22:10:08.247" v="4735"/>
          <ac:spMkLst>
            <pc:docMk/>
            <pc:sldMk cId="2699002068" sldId="256"/>
            <ac:spMk id="6" creationId="{E19E3CAA-152B-9B4E-B312-39CB6A76DF1D}"/>
          </ac:spMkLst>
        </pc:spChg>
        <pc:spChg chg="mod">
          <ac:chgData name="Celine Rose Nicole Choukair" userId="99fb0bcb-3137-4cd1-9e2c-4b0bf91b42b5" providerId="ADAL" clId="{16AD05A4-D6B8-CF42-9834-DA2A8857BD70}" dt="2022-05-22T22:10:08.247" v="4735"/>
          <ac:spMkLst>
            <pc:docMk/>
            <pc:sldMk cId="2699002068" sldId="256"/>
            <ac:spMk id="13" creationId="{E635A9AA-2236-734D-80A1-652ED0DCB4D6}"/>
          </ac:spMkLst>
        </pc:spChg>
        <pc:spChg chg="mod">
          <ac:chgData name="Celine Rose Nicole Choukair" userId="99fb0bcb-3137-4cd1-9e2c-4b0bf91b42b5" providerId="ADAL" clId="{16AD05A4-D6B8-CF42-9834-DA2A8857BD70}" dt="2022-05-22T22:10:08.247" v="4735"/>
          <ac:spMkLst>
            <pc:docMk/>
            <pc:sldMk cId="2699002068" sldId="256"/>
            <ac:spMk id="19" creationId="{E42FB048-3176-1443-B609-CC6E90FA7E86}"/>
          </ac:spMkLst>
        </pc:spChg>
        <pc:grpChg chg="add del mod">
          <ac:chgData name="Celine Rose Nicole Choukair" userId="99fb0bcb-3137-4cd1-9e2c-4b0bf91b42b5" providerId="ADAL" clId="{16AD05A4-D6B8-CF42-9834-DA2A8857BD70}" dt="2022-05-22T22:10:12.985" v="4737" actId="21"/>
          <ac:grpSpMkLst>
            <pc:docMk/>
            <pc:sldMk cId="2699002068" sldId="256"/>
            <ac:grpSpMk id="3" creationId="{4143A114-4BD7-38BA-B147-0AB20D303789}"/>
          </ac:grpSpMkLst>
        </pc:grpChg>
        <pc:picChg chg="mod">
          <ac:chgData name="Celine Rose Nicole Choukair" userId="99fb0bcb-3137-4cd1-9e2c-4b0bf91b42b5" providerId="ADAL" clId="{16AD05A4-D6B8-CF42-9834-DA2A8857BD70}" dt="2022-05-22T22:10:08.247" v="4735"/>
          <ac:picMkLst>
            <pc:docMk/>
            <pc:sldMk cId="2699002068" sldId="256"/>
            <ac:picMk id="5" creationId="{7EB71A85-9DD1-4F4E-82EF-B6522F62310E}"/>
          </ac:picMkLst>
        </pc:picChg>
        <pc:picChg chg="mod">
          <ac:chgData name="Celine Rose Nicole Choukair" userId="99fb0bcb-3137-4cd1-9e2c-4b0bf91b42b5" providerId="ADAL" clId="{16AD05A4-D6B8-CF42-9834-DA2A8857BD70}" dt="2022-05-22T22:10:08.247" v="4735"/>
          <ac:picMkLst>
            <pc:docMk/>
            <pc:sldMk cId="2699002068" sldId="256"/>
            <ac:picMk id="7" creationId="{CB9CF3B5-953E-8843-801E-EE40EEA452E9}"/>
          </ac:picMkLst>
        </pc:picChg>
      </pc:sldChg>
      <pc:sldChg chg="addSp delSp modSp add del mod ord">
        <pc:chgData name="Celine Rose Nicole Choukair" userId="99fb0bcb-3137-4cd1-9e2c-4b0bf91b42b5" providerId="ADAL" clId="{16AD05A4-D6B8-CF42-9834-DA2A8857BD70}" dt="2022-05-22T22:04:06.529" v="4667" actId="2696"/>
        <pc:sldMkLst>
          <pc:docMk/>
          <pc:sldMk cId="2585675084" sldId="2138"/>
        </pc:sldMkLst>
        <pc:spChg chg="mod">
          <ac:chgData name="Celine Rose Nicole Choukair" userId="99fb0bcb-3137-4cd1-9e2c-4b0bf91b42b5" providerId="ADAL" clId="{16AD05A4-D6B8-CF42-9834-DA2A8857BD70}" dt="2022-05-19T10:00:26.079" v="971" actId="207"/>
          <ac:spMkLst>
            <pc:docMk/>
            <pc:sldMk cId="2585675084" sldId="2138"/>
            <ac:spMk id="5" creationId="{5BBFA79B-651B-B143-ADDA-1A3D42D0F307}"/>
          </ac:spMkLst>
        </pc:spChg>
        <pc:spChg chg="mod">
          <ac:chgData name="Celine Rose Nicole Choukair" userId="99fb0bcb-3137-4cd1-9e2c-4b0bf91b42b5" providerId="ADAL" clId="{16AD05A4-D6B8-CF42-9834-DA2A8857BD70}" dt="2022-05-19T11:05:47.002" v="2405"/>
          <ac:spMkLst>
            <pc:docMk/>
            <pc:sldMk cId="2585675084" sldId="2138"/>
            <ac:spMk id="7" creationId="{0BF1CAB3-4EF1-B741-9C94-D5186A21D681}"/>
          </ac:spMkLst>
        </pc:spChg>
        <pc:spChg chg="mod">
          <ac:chgData name="Celine Rose Nicole Choukair" userId="99fb0bcb-3137-4cd1-9e2c-4b0bf91b42b5" providerId="ADAL" clId="{16AD05A4-D6B8-CF42-9834-DA2A8857BD70}" dt="2022-05-19T11:05:47.004" v="2407"/>
          <ac:spMkLst>
            <pc:docMk/>
            <pc:sldMk cId="2585675084" sldId="2138"/>
            <ac:spMk id="9" creationId="{63A29117-6960-2B4A-8238-4D732740D819}"/>
          </ac:spMkLst>
        </pc:spChg>
        <pc:spChg chg="add del mod">
          <ac:chgData name="Celine Rose Nicole Choukair" userId="99fb0bcb-3137-4cd1-9e2c-4b0bf91b42b5" providerId="ADAL" clId="{16AD05A4-D6B8-CF42-9834-DA2A8857BD70}" dt="2022-05-19T11:03:55.398" v="2382" actId="478"/>
          <ac:spMkLst>
            <pc:docMk/>
            <pc:sldMk cId="2585675084" sldId="2138"/>
            <ac:spMk id="10" creationId="{481B3BF7-951D-F3B2-696D-215F2CF4999E}"/>
          </ac:spMkLst>
        </pc:spChg>
        <pc:picChg chg="del">
          <ac:chgData name="Celine Rose Nicole Choukair" userId="99fb0bcb-3137-4cd1-9e2c-4b0bf91b42b5" providerId="ADAL" clId="{16AD05A4-D6B8-CF42-9834-DA2A8857BD70}" dt="2022-05-19T11:05:38.530" v="2399" actId="478"/>
          <ac:picMkLst>
            <pc:docMk/>
            <pc:sldMk cId="2585675084" sldId="2138"/>
            <ac:picMk id="6" creationId="{5199B6EB-2CB0-6D4C-84D8-57ED684B31BF}"/>
          </ac:picMkLst>
        </pc:picChg>
        <pc:picChg chg="add mod">
          <ac:chgData name="Celine Rose Nicole Choukair" userId="99fb0bcb-3137-4cd1-9e2c-4b0bf91b42b5" providerId="ADAL" clId="{16AD05A4-D6B8-CF42-9834-DA2A8857BD70}" dt="2022-05-19T11:05:46.997" v="2403"/>
          <ac:picMkLst>
            <pc:docMk/>
            <pc:sldMk cId="2585675084" sldId="2138"/>
            <ac:picMk id="5122" creationId="{0DEA2D60-CFC2-1922-27F7-C3F4E0B0803A}"/>
          </ac:picMkLst>
        </pc:picChg>
      </pc:sldChg>
      <pc:sldChg chg="add del ord">
        <pc:chgData name="Celine Rose Nicole Choukair" userId="99fb0bcb-3137-4cd1-9e2c-4b0bf91b42b5" providerId="ADAL" clId="{16AD05A4-D6B8-CF42-9834-DA2A8857BD70}" dt="2022-05-19T16:08:18.732" v="2500" actId="20578"/>
        <pc:sldMkLst>
          <pc:docMk/>
          <pc:sldMk cId="2030519923" sldId="2233"/>
        </pc:sldMkLst>
      </pc:sldChg>
      <pc:sldChg chg="ord">
        <pc:chgData name="Celine Rose Nicole Choukair" userId="99fb0bcb-3137-4cd1-9e2c-4b0bf91b42b5" providerId="ADAL" clId="{16AD05A4-D6B8-CF42-9834-DA2A8857BD70}" dt="2022-05-19T16:08:18.732" v="2500" actId="20578"/>
        <pc:sldMkLst>
          <pc:docMk/>
          <pc:sldMk cId="2624283581" sldId="2234"/>
        </pc:sldMkLst>
      </pc:sldChg>
      <pc:sldChg chg="modSp mod">
        <pc:chgData name="Celine Rose Nicole Choukair" userId="99fb0bcb-3137-4cd1-9e2c-4b0bf91b42b5" providerId="ADAL" clId="{16AD05A4-D6B8-CF42-9834-DA2A8857BD70}" dt="2022-05-19T16:19:14.491" v="2805" actId="1076"/>
        <pc:sldMkLst>
          <pc:docMk/>
          <pc:sldMk cId="2285934962" sldId="2236"/>
        </pc:sldMkLst>
        <pc:spChg chg="mod">
          <ac:chgData name="Celine Rose Nicole Choukair" userId="99fb0bcb-3137-4cd1-9e2c-4b0bf91b42b5" providerId="ADAL" clId="{16AD05A4-D6B8-CF42-9834-DA2A8857BD70}" dt="2022-05-19T16:18:54.331" v="2764" actId="20577"/>
          <ac:spMkLst>
            <pc:docMk/>
            <pc:sldMk cId="2285934962" sldId="2236"/>
            <ac:spMk id="6" creationId="{BE0F0CA0-9F76-424D-B8C8-30D3757557F4}"/>
          </ac:spMkLst>
        </pc:spChg>
        <pc:spChg chg="mod">
          <ac:chgData name="Celine Rose Nicole Choukair" userId="99fb0bcb-3137-4cd1-9e2c-4b0bf91b42b5" providerId="ADAL" clId="{16AD05A4-D6B8-CF42-9834-DA2A8857BD70}" dt="2022-05-19T16:19:05.072" v="2787" actId="20577"/>
          <ac:spMkLst>
            <pc:docMk/>
            <pc:sldMk cId="2285934962" sldId="2236"/>
            <ac:spMk id="7" creationId="{49C70B37-0CE0-064F-AE72-7A65C1AE6FAB}"/>
          </ac:spMkLst>
        </pc:spChg>
        <pc:spChg chg="mod">
          <ac:chgData name="Celine Rose Nicole Choukair" userId="99fb0bcb-3137-4cd1-9e2c-4b0bf91b42b5" providerId="ADAL" clId="{16AD05A4-D6B8-CF42-9834-DA2A8857BD70}" dt="2022-05-19T16:19:11.565" v="2804" actId="20577"/>
          <ac:spMkLst>
            <pc:docMk/>
            <pc:sldMk cId="2285934962" sldId="2236"/>
            <ac:spMk id="8" creationId="{8D9CD8C6-4DFD-3E48-863A-3C6A0D0A4E16}"/>
          </ac:spMkLst>
        </pc:spChg>
        <pc:spChg chg="mod">
          <ac:chgData name="Celine Rose Nicole Choukair" userId="99fb0bcb-3137-4cd1-9e2c-4b0bf91b42b5" providerId="ADAL" clId="{16AD05A4-D6B8-CF42-9834-DA2A8857BD70}" dt="2022-05-19T16:19:14.491" v="2805" actId="1076"/>
          <ac:spMkLst>
            <pc:docMk/>
            <pc:sldMk cId="2285934962" sldId="2236"/>
            <ac:spMk id="17" creationId="{5DA2E3D7-8ACA-034E-9E86-4ED14601D39E}"/>
          </ac:spMkLst>
        </pc:spChg>
      </pc:sldChg>
      <pc:sldChg chg="addSp delSp modSp mod">
        <pc:chgData name="Celine Rose Nicole Choukair" userId="99fb0bcb-3137-4cd1-9e2c-4b0bf91b42b5" providerId="ADAL" clId="{16AD05A4-D6B8-CF42-9834-DA2A8857BD70}" dt="2022-05-22T22:13:34.353" v="4924"/>
        <pc:sldMkLst>
          <pc:docMk/>
          <pc:sldMk cId="2268554349" sldId="2239"/>
        </pc:sldMkLst>
        <pc:spChg chg="del">
          <ac:chgData name="Celine Rose Nicole Choukair" userId="99fb0bcb-3137-4cd1-9e2c-4b0bf91b42b5" providerId="ADAL" clId="{16AD05A4-D6B8-CF42-9834-DA2A8857BD70}" dt="2022-05-19T10:18:13.703" v="1142" actId="478"/>
          <ac:spMkLst>
            <pc:docMk/>
            <pc:sldMk cId="2268554349" sldId="2239"/>
            <ac:spMk id="11" creationId="{F16FD6C2-4621-B24C-A6B2-6B384A5E8205}"/>
          </ac:spMkLst>
        </pc:spChg>
        <pc:spChg chg="add mod">
          <ac:chgData name="Celine Rose Nicole Choukair" userId="99fb0bcb-3137-4cd1-9e2c-4b0bf91b42b5" providerId="ADAL" clId="{16AD05A4-D6B8-CF42-9834-DA2A8857BD70}" dt="2022-05-22T22:13:34.353" v="4924"/>
          <ac:spMkLst>
            <pc:docMk/>
            <pc:sldMk cId="2268554349" sldId="2239"/>
            <ac:spMk id="64" creationId="{AF4F499B-B2CD-2AE8-D1AF-51B6DB779283}"/>
          </ac:spMkLst>
        </pc:spChg>
        <pc:spChg chg="del">
          <ac:chgData name="Celine Rose Nicole Choukair" userId="99fb0bcb-3137-4cd1-9e2c-4b0bf91b42b5" providerId="ADAL" clId="{16AD05A4-D6B8-CF42-9834-DA2A8857BD70}" dt="2022-05-22T22:13:33.855" v="4923" actId="478"/>
          <ac:spMkLst>
            <pc:docMk/>
            <pc:sldMk cId="2268554349" sldId="2239"/>
            <ac:spMk id="110" creationId="{D1783290-84FC-0540-A5F6-6F47AD45E135}"/>
          </ac:spMkLst>
        </pc:spChg>
      </pc:sldChg>
      <pc:sldChg chg="del">
        <pc:chgData name="Celine Rose Nicole Choukair" userId="99fb0bcb-3137-4cd1-9e2c-4b0bf91b42b5" providerId="ADAL" clId="{16AD05A4-D6B8-CF42-9834-DA2A8857BD70}" dt="2022-05-19T16:19:16.876" v="2806" actId="2696"/>
        <pc:sldMkLst>
          <pc:docMk/>
          <pc:sldMk cId="760558496" sldId="2247"/>
        </pc:sldMkLst>
      </pc:sldChg>
      <pc:sldChg chg="del">
        <pc:chgData name="Celine Rose Nicole Choukair" userId="99fb0bcb-3137-4cd1-9e2c-4b0bf91b42b5" providerId="ADAL" clId="{16AD05A4-D6B8-CF42-9834-DA2A8857BD70}" dt="2022-05-19T16:55:34.953" v="2920" actId="2696"/>
        <pc:sldMkLst>
          <pc:docMk/>
          <pc:sldMk cId="746725783" sldId="2248"/>
        </pc:sldMkLst>
      </pc:sldChg>
      <pc:sldChg chg="add del">
        <pc:chgData name="Celine Rose Nicole Choukair" userId="99fb0bcb-3137-4cd1-9e2c-4b0bf91b42b5" providerId="ADAL" clId="{16AD05A4-D6B8-CF42-9834-DA2A8857BD70}" dt="2022-05-19T09:47:33.848" v="110" actId="2696"/>
        <pc:sldMkLst>
          <pc:docMk/>
          <pc:sldMk cId="2338207008" sldId="2868"/>
        </pc:sldMkLst>
      </pc:sldChg>
      <pc:sldChg chg="addSp delSp modSp add del mod">
        <pc:chgData name="Celine Rose Nicole Choukair" userId="99fb0bcb-3137-4cd1-9e2c-4b0bf91b42b5" providerId="ADAL" clId="{16AD05A4-D6B8-CF42-9834-DA2A8857BD70}" dt="2022-05-19T10:54:58.963" v="2313" actId="1036"/>
        <pc:sldMkLst>
          <pc:docMk/>
          <pc:sldMk cId="3176938079" sldId="2145709188"/>
        </pc:sldMkLst>
        <pc:spChg chg="add del mod">
          <ac:chgData name="Celine Rose Nicole Choukair" userId="99fb0bcb-3137-4cd1-9e2c-4b0bf91b42b5" providerId="ADAL" clId="{16AD05A4-D6B8-CF42-9834-DA2A8857BD70}" dt="2022-05-19T10:23:55.987" v="1394" actId="478"/>
          <ac:spMkLst>
            <pc:docMk/>
            <pc:sldMk cId="3176938079" sldId="2145709188"/>
            <ac:spMk id="2" creationId="{FE42E159-17F6-0000-5749-FE0687C15664}"/>
          </ac:spMkLst>
        </pc:spChg>
        <pc:spChg chg="add del mod">
          <ac:chgData name="Celine Rose Nicole Choukair" userId="99fb0bcb-3137-4cd1-9e2c-4b0bf91b42b5" providerId="ADAL" clId="{16AD05A4-D6B8-CF42-9834-DA2A8857BD70}" dt="2022-05-19T10:25:08.103" v="1504"/>
          <ac:spMkLst>
            <pc:docMk/>
            <pc:sldMk cId="3176938079" sldId="2145709188"/>
            <ac:spMk id="5" creationId="{5F25FF0B-79E4-4B34-8A97-61FB0B7169B4}"/>
          </ac:spMkLst>
        </pc:spChg>
        <pc:spChg chg="add del mod">
          <ac:chgData name="Celine Rose Nicole Choukair" userId="99fb0bcb-3137-4cd1-9e2c-4b0bf91b42b5" providerId="ADAL" clId="{16AD05A4-D6B8-CF42-9834-DA2A8857BD70}" dt="2022-05-19T10:25:38.965" v="1577" actId="478"/>
          <ac:spMkLst>
            <pc:docMk/>
            <pc:sldMk cId="3176938079" sldId="2145709188"/>
            <ac:spMk id="7" creationId="{E62F3F5F-E208-4BC8-17A3-B3B4DE8323D4}"/>
          </ac:spMkLst>
        </pc:spChg>
        <pc:spChg chg="mod">
          <ac:chgData name="Celine Rose Nicole Choukair" userId="99fb0bcb-3137-4cd1-9e2c-4b0bf91b42b5" providerId="ADAL" clId="{16AD05A4-D6B8-CF42-9834-DA2A8857BD70}" dt="2022-05-19T10:27:19.911" v="1631"/>
          <ac:spMkLst>
            <pc:docMk/>
            <pc:sldMk cId="3176938079" sldId="2145709188"/>
            <ac:spMk id="21" creationId="{657147EA-9008-4540-81D8-E4F1917B7FAD}"/>
          </ac:spMkLst>
        </pc:spChg>
        <pc:spChg chg="add del mod">
          <ac:chgData name="Celine Rose Nicole Choukair" userId="99fb0bcb-3137-4cd1-9e2c-4b0bf91b42b5" providerId="ADAL" clId="{16AD05A4-D6B8-CF42-9834-DA2A8857BD70}" dt="2022-05-19T10:26:44.926" v="1620" actId="478"/>
          <ac:spMkLst>
            <pc:docMk/>
            <pc:sldMk cId="3176938079" sldId="2145709188"/>
            <ac:spMk id="25" creationId="{A1F8D124-4984-BAD1-6A0A-104B1E4C1D6D}"/>
          </ac:spMkLst>
        </pc:spChg>
        <pc:spChg chg="add del mod">
          <ac:chgData name="Celine Rose Nicole Choukair" userId="99fb0bcb-3137-4cd1-9e2c-4b0bf91b42b5" providerId="ADAL" clId="{16AD05A4-D6B8-CF42-9834-DA2A8857BD70}" dt="2022-05-19T10:26:46.549" v="1621" actId="478"/>
          <ac:spMkLst>
            <pc:docMk/>
            <pc:sldMk cId="3176938079" sldId="2145709188"/>
            <ac:spMk id="26" creationId="{F76A11F6-EF40-C305-7341-CD09610B2F7C}"/>
          </ac:spMkLst>
        </pc:spChg>
        <pc:spChg chg="add mod">
          <ac:chgData name="Celine Rose Nicole Choukair" userId="99fb0bcb-3137-4cd1-9e2c-4b0bf91b42b5" providerId="ADAL" clId="{16AD05A4-D6B8-CF42-9834-DA2A8857BD70}" dt="2022-05-19T10:25:56.973" v="1582" actId="1076"/>
          <ac:spMkLst>
            <pc:docMk/>
            <pc:sldMk cId="3176938079" sldId="2145709188"/>
            <ac:spMk id="27" creationId="{6979BADB-BE91-EB31-2505-7DDD1A2E2294}"/>
          </ac:spMkLst>
        </pc:spChg>
        <pc:spChg chg="add del mod">
          <ac:chgData name="Celine Rose Nicole Choukair" userId="99fb0bcb-3137-4cd1-9e2c-4b0bf91b42b5" providerId="ADAL" clId="{16AD05A4-D6B8-CF42-9834-DA2A8857BD70}" dt="2022-05-19T10:26:44.926" v="1620" actId="478"/>
          <ac:spMkLst>
            <pc:docMk/>
            <pc:sldMk cId="3176938079" sldId="2145709188"/>
            <ac:spMk id="28" creationId="{BDD7995D-46A8-8047-02BE-712E0FB25611}"/>
          </ac:spMkLst>
        </pc:spChg>
        <pc:spChg chg="mod">
          <ac:chgData name="Celine Rose Nicole Choukair" userId="99fb0bcb-3137-4cd1-9e2c-4b0bf91b42b5" providerId="ADAL" clId="{16AD05A4-D6B8-CF42-9834-DA2A8857BD70}" dt="2022-05-19T10:38:09.474" v="1973" actId="20577"/>
          <ac:spMkLst>
            <pc:docMk/>
            <pc:sldMk cId="3176938079" sldId="2145709188"/>
            <ac:spMk id="45" creationId="{C995B250-CEAC-6E4F-8474-73820D7394AB}"/>
          </ac:spMkLst>
        </pc:spChg>
        <pc:spChg chg="mod">
          <ac:chgData name="Celine Rose Nicole Choukair" userId="99fb0bcb-3137-4cd1-9e2c-4b0bf91b42b5" providerId="ADAL" clId="{16AD05A4-D6B8-CF42-9834-DA2A8857BD70}" dt="2022-05-19T10:27:07.662" v="1625"/>
          <ac:spMkLst>
            <pc:docMk/>
            <pc:sldMk cId="3176938079" sldId="2145709188"/>
            <ac:spMk id="61" creationId="{52800886-D6D5-C44A-88DD-4F46CAD0B305}"/>
          </ac:spMkLst>
        </pc:spChg>
        <pc:spChg chg="mod">
          <ac:chgData name="Celine Rose Nicole Choukair" userId="99fb0bcb-3137-4cd1-9e2c-4b0bf91b42b5" providerId="ADAL" clId="{16AD05A4-D6B8-CF42-9834-DA2A8857BD70}" dt="2022-05-19T10:27:11.336" v="1627"/>
          <ac:spMkLst>
            <pc:docMk/>
            <pc:sldMk cId="3176938079" sldId="2145709188"/>
            <ac:spMk id="66" creationId="{3C84E1C3-3AF1-C541-9E6E-EB0D7F6FB715}"/>
          </ac:spMkLst>
        </pc:spChg>
        <pc:spChg chg="mod">
          <ac:chgData name="Celine Rose Nicole Choukair" userId="99fb0bcb-3137-4cd1-9e2c-4b0bf91b42b5" providerId="ADAL" clId="{16AD05A4-D6B8-CF42-9834-DA2A8857BD70}" dt="2022-05-19T10:27:17.168" v="1629"/>
          <ac:spMkLst>
            <pc:docMk/>
            <pc:sldMk cId="3176938079" sldId="2145709188"/>
            <ac:spMk id="70" creationId="{11D2BE62-AB96-9E48-9474-46B0393D288E}"/>
          </ac:spMkLst>
        </pc:spChg>
        <pc:spChg chg="mod">
          <ac:chgData name="Celine Rose Nicole Choukair" userId="99fb0bcb-3137-4cd1-9e2c-4b0bf91b42b5" providerId="ADAL" clId="{16AD05A4-D6B8-CF42-9834-DA2A8857BD70}" dt="2022-05-19T10:25:49.828" v="1580" actId="14100"/>
          <ac:spMkLst>
            <pc:docMk/>
            <pc:sldMk cId="3176938079" sldId="2145709188"/>
            <ac:spMk id="72" creationId="{C2AD3D75-E108-F34B-BCBB-2D0EC4FA64D9}"/>
          </ac:spMkLst>
        </pc:spChg>
        <pc:grpChg chg="add mod">
          <ac:chgData name="Celine Rose Nicole Choukair" userId="99fb0bcb-3137-4cd1-9e2c-4b0bf91b42b5" providerId="ADAL" clId="{16AD05A4-D6B8-CF42-9834-DA2A8857BD70}" dt="2022-05-19T10:54:58.963" v="2313" actId="1036"/>
          <ac:grpSpMkLst>
            <pc:docMk/>
            <pc:sldMk cId="3176938079" sldId="2145709188"/>
            <ac:grpSpMk id="20" creationId="{1829006F-5A13-9CCC-667F-B838AD2CEE89}"/>
          </ac:grpSpMkLst>
        </pc:grpChg>
        <pc:picChg chg="del">
          <ac:chgData name="Celine Rose Nicole Choukair" userId="99fb0bcb-3137-4cd1-9e2c-4b0bf91b42b5" providerId="ADAL" clId="{16AD05A4-D6B8-CF42-9834-DA2A8857BD70}" dt="2022-05-19T10:29:30.502" v="1634" actId="478"/>
          <ac:picMkLst>
            <pc:docMk/>
            <pc:sldMk cId="3176938079" sldId="2145709188"/>
            <ac:picMk id="3" creationId="{0B84ECF8-332C-408B-9EF1-787931EB2294}"/>
          </ac:picMkLst>
        </pc:picChg>
        <pc:picChg chg="del">
          <ac:chgData name="Celine Rose Nicole Choukair" userId="99fb0bcb-3137-4cd1-9e2c-4b0bf91b42b5" providerId="ADAL" clId="{16AD05A4-D6B8-CF42-9834-DA2A8857BD70}" dt="2022-05-19T10:30:06.250" v="1666" actId="478"/>
          <ac:picMkLst>
            <pc:docMk/>
            <pc:sldMk cId="3176938079" sldId="2145709188"/>
            <ac:picMk id="4" creationId="{17541F35-5C8B-45BD-91BC-A46CC7D156FF}"/>
          </ac:picMkLst>
        </pc:picChg>
        <pc:picChg chg="del">
          <ac:chgData name="Celine Rose Nicole Choukair" userId="99fb0bcb-3137-4cd1-9e2c-4b0bf91b42b5" providerId="ADAL" clId="{16AD05A4-D6B8-CF42-9834-DA2A8857BD70}" dt="2022-05-19T10:30:05.221" v="1665" actId="478"/>
          <ac:picMkLst>
            <pc:docMk/>
            <pc:sldMk cId="3176938079" sldId="2145709188"/>
            <ac:picMk id="6" creationId="{96D995C1-FFAB-43DB-AA92-769FA33A3B75}"/>
          </ac:picMkLst>
        </pc:picChg>
        <pc:picChg chg="del mod">
          <ac:chgData name="Celine Rose Nicole Choukair" userId="99fb0bcb-3137-4cd1-9e2c-4b0bf91b42b5" providerId="ADAL" clId="{16AD05A4-D6B8-CF42-9834-DA2A8857BD70}" dt="2022-05-19T10:30:04.120" v="1664" actId="478"/>
          <ac:picMkLst>
            <pc:docMk/>
            <pc:sldMk cId="3176938079" sldId="2145709188"/>
            <ac:picMk id="9" creationId="{EDDD7ED8-8727-451A-B07C-C3FB20D75D97}"/>
          </ac:picMkLst>
        </pc:picChg>
        <pc:picChg chg="add mod">
          <ac:chgData name="Celine Rose Nicole Choukair" userId="99fb0bcb-3137-4cd1-9e2c-4b0bf91b42b5" providerId="ADAL" clId="{16AD05A4-D6B8-CF42-9834-DA2A8857BD70}" dt="2022-05-19T10:30:30.185" v="1682"/>
          <ac:picMkLst>
            <pc:docMk/>
            <pc:sldMk cId="3176938079" sldId="2145709188"/>
            <ac:picMk id="10" creationId="{6D3FBE2E-7440-55B1-431E-999A50D8D977}"/>
          </ac:picMkLst>
        </pc:picChg>
        <pc:picChg chg="add mod">
          <ac:chgData name="Celine Rose Nicole Choukair" userId="99fb0bcb-3137-4cd1-9e2c-4b0bf91b42b5" providerId="ADAL" clId="{16AD05A4-D6B8-CF42-9834-DA2A8857BD70}" dt="2022-05-19T10:30:26.276" v="1678"/>
          <ac:picMkLst>
            <pc:docMk/>
            <pc:sldMk cId="3176938079" sldId="2145709188"/>
            <ac:picMk id="12" creationId="{05169A1A-ADF8-7921-84A6-140FEDC272EB}"/>
          </ac:picMkLst>
        </pc:picChg>
        <pc:picChg chg="add mod">
          <ac:chgData name="Celine Rose Nicole Choukair" userId="99fb0bcb-3137-4cd1-9e2c-4b0bf91b42b5" providerId="ADAL" clId="{16AD05A4-D6B8-CF42-9834-DA2A8857BD70}" dt="2022-05-19T10:30:20.043" v="1674"/>
          <ac:picMkLst>
            <pc:docMk/>
            <pc:sldMk cId="3176938079" sldId="2145709188"/>
            <ac:picMk id="14" creationId="{2B62446F-1711-1223-704A-4BCC075A192B}"/>
          </ac:picMkLst>
        </pc:picChg>
        <pc:picChg chg="add del mod">
          <ac:chgData name="Celine Rose Nicole Choukair" userId="99fb0bcb-3137-4cd1-9e2c-4b0bf91b42b5" providerId="ADAL" clId="{16AD05A4-D6B8-CF42-9834-DA2A8857BD70}" dt="2022-05-19T10:30:31.745" v="1683" actId="478"/>
          <ac:picMkLst>
            <pc:docMk/>
            <pc:sldMk cId="3176938079" sldId="2145709188"/>
            <ac:picMk id="16" creationId="{CD163235-6707-0CB6-A2DA-2625FC39F4F4}"/>
          </ac:picMkLst>
        </pc:picChg>
        <pc:picChg chg="add mod">
          <ac:chgData name="Celine Rose Nicole Choukair" userId="99fb0bcb-3137-4cd1-9e2c-4b0bf91b42b5" providerId="ADAL" clId="{16AD05A4-D6B8-CF42-9834-DA2A8857BD70}" dt="2022-05-19T10:30:14.977" v="1670"/>
          <ac:picMkLst>
            <pc:docMk/>
            <pc:sldMk cId="3176938079" sldId="2145709188"/>
            <ac:picMk id="18" creationId="{1424A6B7-00E9-7016-0CB6-AB82A3421DCC}"/>
          </ac:picMkLst>
        </pc:picChg>
        <pc:picChg chg="add mod">
          <ac:chgData name="Celine Rose Nicole Choukair" userId="99fb0bcb-3137-4cd1-9e2c-4b0bf91b42b5" providerId="ADAL" clId="{16AD05A4-D6B8-CF42-9834-DA2A8857BD70}" dt="2022-05-19T10:54:58.963" v="2313" actId="1036"/>
          <ac:picMkLst>
            <pc:docMk/>
            <pc:sldMk cId="3176938079" sldId="2145709188"/>
            <ac:picMk id="19" creationId="{0835E1F4-5C89-550A-F219-E1167AFE58F8}"/>
          </ac:picMkLst>
        </pc:picChg>
        <pc:picChg chg="add del mod">
          <ac:chgData name="Celine Rose Nicole Choukair" userId="99fb0bcb-3137-4cd1-9e2c-4b0bf91b42b5" providerId="ADAL" clId="{16AD05A4-D6B8-CF42-9834-DA2A8857BD70}" dt="2022-05-19T10:26:44.926" v="1620" actId="478"/>
          <ac:picMkLst>
            <pc:docMk/>
            <pc:sldMk cId="3176938079" sldId="2145709188"/>
            <ac:picMk id="29" creationId="{AF46D046-69ED-17CB-1226-A0EF7A650EAC}"/>
          </ac:picMkLst>
        </pc:picChg>
        <pc:picChg chg="add mod">
          <ac:chgData name="Celine Rose Nicole Choukair" userId="99fb0bcb-3137-4cd1-9e2c-4b0bf91b42b5" providerId="ADAL" clId="{16AD05A4-D6B8-CF42-9834-DA2A8857BD70}" dt="2022-05-19T10:54:58.963" v="2313" actId="1036"/>
          <ac:picMkLst>
            <pc:docMk/>
            <pc:sldMk cId="3176938079" sldId="2145709188"/>
            <ac:picMk id="41" creationId="{EB6B6165-CB36-83F2-30A9-1DA7B9E9BAD8}"/>
          </ac:picMkLst>
        </pc:picChg>
        <pc:picChg chg="del">
          <ac:chgData name="Celine Rose Nicole Choukair" userId="99fb0bcb-3137-4cd1-9e2c-4b0bf91b42b5" providerId="ADAL" clId="{16AD05A4-D6B8-CF42-9834-DA2A8857BD70}" dt="2022-05-19T10:26:55.839" v="1622" actId="478"/>
          <ac:picMkLst>
            <pc:docMk/>
            <pc:sldMk cId="3176938079" sldId="2145709188"/>
            <ac:picMk id="72706" creationId="{F9AA1A38-9240-2A49-AAE3-CD56739A5604}"/>
          </ac:picMkLst>
        </pc:picChg>
      </pc:sldChg>
      <pc:sldChg chg="del">
        <pc:chgData name="Celine Rose Nicole Choukair" userId="99fb0bcb-3137-4cd1-9e2c-4b0bf91b42b5" providerId="ADAL" clId="{16AD05A4-D6B8-CF42-9834-DA2A8857BD70}" dt="2022-05-19T10:18:23.612" v="1144" actId="2696"/>
        <pc:sldMkLst>
          <pc:docMk/>
          <pc:sldMk cId="3397564960" sldId="2145709191"/>
        </pc:sldMkLst>
      </pc:sldChg>
      <pc:sldChg chg="del">
        <pc:chgData name="Celine Rose Nicole Choukair" userId="99fb0bcb-3137-4cd1-9e2c-4b0bf91b42b5" providerId="ADAL" clId="{16AD05A4-D6B8-CF42-9834-DA2A8857BD70}" dt="2022-05-19T10:17:46.263" v="1141" actId="2696"/>
        <pc:sldMkLst>
          <pc:docMk/>
          <pc:sldMk cId="1300244507" sldId="2145709192"/>
        </pc:sldMkLst>
      </pc:sldChg>
      <pc:sldChg chg="addSp modSp add mod">
        <pc:chgData name="Celine Rose Nicole Choukair" userId="99fb0bcb-3137-4cd1-9e2c-4b0bf91b42b5" providerId="ADAL" clId="{16AD05A4-D6B8-CF42-9834-DA2A8857BD70}" dt="2022-05-19T16:23:15.057" v="2918" actId="20577"/>
        <pc:sldMkLst>
          <pc:docMk/>
          <pc:sldMk cId="3000357544" sldId="2145709192"/>
        </pc:sldMkLst>
        <pc:spChg chg="mod">
          <ac:chgData name="Celine Rose Nicole Choukair" userId="99fb0bcb-3137-4cd1-9e2c-4b0bf91b42b5" providerId="ADAL" clId="{16AD05A4-D6B8-CF42-9834-DA2A8857BD70}" dt="2022-05-19T16:23:15.057" v="2918" actId="20577"/>
          <ac:spMkLst>
            <pc:docMk/>
            <pc:sldMk cId="3000357544" sldId="2145709192"/>
            <ac:spMk id="8" creationId="{E6A07C1E-2900-FFB9-A206-84F77B8F89EE}"/>
          </ac:spMkLst>
        </pc:spChg>
        <pc:spChg chg="mod">
          <ac:chgData name="Celine Rose Nicole Choukair" userId="99fb0bcb-3137-4cd1-9e2c-4b0bf91b42b5" providerId="ADAL" clId="{16AD05A4-D6B8-CF42-9834-DA2A8857BD70}" dt="2022-05-19T16:18:26.182" v="2747" actId="207"/>
          <ac:spMkLst>
            <pc:docMk/>
            <pc:sldMk cId="3000357544" sldId="2145709192"/>
            <ac:spMk id="28" creationId="{A4124546-F4C3-6A46-7597-BAF90BE7610B}"/>
          </ac:spMkLst>
        </pc:spChg>
        <pc:spChg chg="mod">
          <ac:chgData name="Celine Rose Nicole Choukair" userId="99fb0bcb-3137-4cd1-9e2c-4b0bf91b42b5" providerId="ADAL" clId="{16AD05A4-D6B8-CF42-9834-DA2A8857BD70}" dt="2022-05-19T16:18:26.182" v="2747" actId="207"/>
          <ac:spMkLst>
            <pc:docMk/>
            <pc:sldMk cId="3000357544" sldId="2145709192"/>
            <ac:spMk id="29" creationId="{8BBA79F5-C630-9BFC-FA99-B424823E9446}"/>
          </ac:spMkLst>
        </pc:spChg>
        <pc:spChg chg="mod">
          <ac:chgData name="Celine Rose Nicole Choukair" userId="99fb0bcb-3137-4cd1-9e2c-4b0bf91b42b5" providerId="ADAL" clId="{16AD05A4-D6B8-CF42-9834-DA2A8857BD70}" dt="2022-05-19T16:18:26.182" v="2747" actId="207"/>
          <ac:spMkLst>
            <pc:docMk/>
            <pc:sldMk cId="3000357544" sldId="2145709192"/>
            <ac:spMk id="30" creationId="{8417FBE4-D000-A73A-CD1F-F90ED9B70523}"/>
          </ac:spMkLst>
        </pc:spChg>
        <pc:spChg chg="mod">
          <ac:chgData name="Celine Rose Nicole Choukair" userId="99fb0bcb-3137-4cd1-9e2c-4b0bf91b42b5" providerId="ADAL" clId="{16AD05A4-D6B8-CF42-9834-DA2A8857BD70}" dt="2022-05-19T16:18:26.182" v="2747" actId="207"/>
          <ac:spMkLst>
            <pc:docMk/>
            <pc:sldMk cId="3000357544" sldId="2145709192"/>
            <ac:spMk id="31" creationId="{4C318CDA-59A5-9692-D513-34FCB6EF0ABE}"/>
          </ac:spMkLst>
        </pc:spChg>
        <pc:spChg chg="mod">
          <ac:chgData name="Celine Rose Nicole Choukair" userId="99fb0bcb-3137-4cd1-9e2c-4b0bf91b42b5" providerId="ADAL" clId="{16AD05A4-D6B8-CF42-9834-DA2A8857BD70}" dt="2022-05-19T16:18:35.152" v="2748" actId="207"/>
          <ac:spMkLst>
            <pc:docMk/>
            <pc:sldMk cId="3000357544" sldId="2145709192"/>
            <ac:spMk id="32" creationId="{7C5129D4-4233-97F3-D440-A7EA2FDF6289}"/>
          </ac:spMkLst>
        </pc:spChg>
        <pc:spChg chg="mod">
          <ac:chgData name="Celine Rose Nicole Choukair" userId="99fb0bcb-3137-4cd1-9e2c-4b0bf91b42b5" providerId="ADAL" clId="{16AD05A4-D6B8-CF42-9834-DA2A8857BD70}" dt="2022-05-19T16:18:35.152" v="2748" actId="207"/>
          <ac:spMkLst>
            <pc:docMk/>
            <pc:sldMk cId="3000357544" sldId="2145709192"/>
            <ac:spMk id="33" creationId="{E5CEEA38-8E90-8C12-460D-ED4BF93EDFE4}"/>
          </ac:spMkLst>
        </pc:spChg>
        <pc:spChg chg="mod">
          <ac:chgData name="Celine Rose Nicole Choukair" userId="99fb0bcb-3137-4cd1-9e2c-4b0bf91b42b5" providerId="ADAL" clId="{16AD05A4-D6B8-CF42-9834-DA2A8857BD70}" dt="2022-05-19T16:18:35.152" v="2748" actId="207"/>
          <ac:spMkLst>
            <pc:docMk/>
            <pc:sldMk cId="3000357544" sldId="2145709192"/>
            <ac:spMk id="34" creationId="{05E85C93-3810-8E8C-1E3F-743867CCE2DD}"/>
          </ac:spMkLst>
        </pc:spChg>
        <pc:spChg chg="mod">
          <ac:chgData name="Celine Rose Nicole Choukair" userId="99fb0bcb-3137-4cd1-9e2c-4b0bf91b42b5" providerId="ADAL" clId="{16AD05A4-D6B8-CF42-9834-DA2A8857BD70}" dt="2022-05-19T16:18:35.152" v="2748" actId="207"/>
          <ac:spMkLst>
            <pc:docMk/>
            <pc:sldMk cId="3000357544" sldId="2145709192"/>
            <ac:spMk id="35" creationId="{800590F3-95FB-B452-66BD-5594EC277E63}"/>
          </ac:spMkLst>
        </pc:spChg>
        <pc:spChg chg="add mod">
          <ac:chgData name="Celine Rose Nicole Choukair" userId="99fb0bcb-3137-4cd1-9e2c-4b0bf91b42b5" providerId="ADAL" clId="{16AD05A4-D6B8-CF42-9834-DA2A8857BD70}" dt="2022-05-19T16:15:46.040" v="2709"/>
          <ac:spMkLst>
            <pc:docMk/>
            <pc:sldMk cId="3000357544" sldId="2145709192"/>
            <ac:spMk id="51" creationId="{460FC3E2-3D75-48E3-C4DE-FE23436102F3}"/>
          </ac:spMkLst>
        </pc:spChg>
        <pc:cxnChg chg="add mod">
          <ac:chgData name="Celine Rose Nicole Choukair" userId="99fb0bcb-3137-4cd1-9e2c-4b0bf91b42b5" providerId="ADAL" clId="{16AD05A4-D6B8-CF42-9834-DA2A8857BD70}" dt="2022-05-19T16:15:46.040" v="2709"/>
          <ac:cxnSpMkLst>
            <pc:docMk/>
            <pc:sldMk cId="3000357544" sldId="2145709192"/>
            <ac:cxnSpMk id="52" creationId="{EA6A78C0-5037-EF4F-4120-1AD1E30CBFFB}"/>
          </ac:cxnSpMkLst>
        </pc:cxnChg>
        <pc:cxnChg chg="add mod">
          <ac:chgData name="Celine Rose Nicole Choukair" userId="99fb0bcb-3137-4cd1-9e2c-4b0bf91b42b5" providerId="ADAL" clId="{16AD05A4-D6B8-CF42-9834-DA2A8857BD70}" dt="2022-05-19T16:15:46.040" v="2709"/>
          <ac:cxnSpMkLst>
            <pc:docMk/>
            <pc:sldMk cId="3000357544" sldId="2145709192"/>
            <ac:cxnSpMk id="53" creationId="{FDBC5CDA-641E-52E4-DF1B-815E4679B2A3}"/>
          </ac:cxnSpMkLst>
        </pc:cxnChg>
      </pc:sldChg>
      <pc:sldChg chg="addSp modSp add mod">
        <pc:chgData name="Celine Rose Nicole Choukair" userId="99fb0bcb-3137-4cd1-9e2c-4b0bf91b42b5" providerId="ADAL" clId="{16AD05A4-D6B8-CF42-9834-DA2A8857BD70}" dt="2022-05-19T16:17:51.812" v="2745" actId="20577"/>
        <pc:sldMkLst>
          <pc:docMk/>
          <pc:sldMk cId="3872981918" sldId="2145709193"/>
        </pc:sldMkLst>
        <pc:spChg chg="add mod">
          <ac:chgData name="Celine Rose Nicole Choukair" userId="99fb0bcb-3137-4cd1-9e2c-4b0bf91b42b5" providerId="ADAL" clId="{16AD05A4-D6B8-CF42-9834-DA2A8857BD70}" dt="2022-05-19T16:14:04.776" v="2691" actId="122"/>
          <ac:spMkLst>
            <pc:docMk/>
            <pc:sldMk cId="3872981918" sldId="2145709193"/>
            <ac:spMk id="2" creationId="{D5C8B68B-CF0F-1E17-85BF-0D2F87713E5A}"/>
          </ac:spMkLst>
        </pc:spChg>
        <pc:spChg chg="add mod">
          <ac:chgData name="Celine Rose Nicole Choukair" userId="99fb0bcb-3137-4cd1-9e2c-4b0bf91b42b5" providerId="ADAL" clId="{16AD05A4-D6B8-CF42-9834-DA2A8857BD70}" dt="2022-05-19T16:12:01.896" v="2583" actId="207"/>
          <ac:spMkLst>
            <pc:docMk/>
            <pc:sldMk cId="3872981918" sldId="2145709193"/>
            <ac:spMk id="19" creationId="{CE6E84FC-5278-2899-DBE2-D64F3B79F508}"/>
          </ac:spMkLst>
        </pc:spChg>
        <pc:spChg chg="add mod">
          <ac:chgData name="Celine Rose Nicole Choukair" userId="99fb0bcb-3137-4cd1-9e2c-4b0bf91b42b5" providerId="ADAL" clId="{16AD05A4-D6B8-CF42-9834-DA2A8857BD70}" dt="2022-05-19T16:12:01.896" v="2583" actId="207"/>
          <ac:spMkLst>
            <pc:docMk/>
            <pc:sldMk cId="3872981918" sldId="2145709193"/>
            <ac:spMk id="20" creationId="{42B31863-CC90-7BA4-E76C-BEAEA0EE4949}"/>
          </ac:spMkLst>
        </pc:spChg>
        <pc:spChg chg="add mod">
          <ac:chgData name="Celine Rose Nicole Choukair" userId="99fb0bcb-3137-4cd1-9e2c-4b0bf91b42b5" providerId="ADAL" clId="{16AD05A4-D6B8-CF42-9834-DA2A8857BD70}" dt="2022-05-19T16:12:01.896" v="2583" actId="207"/>
          <ac:spMkLst>
            <pc:docMk/>
            <pc:sldMk cId="3872981918" sldId="2145709193"/>
            <ac:spMk id="21" creationId="{51A7F473-AB6B-AE1B-335D-C8AE4972FFCE}"/>
          </ac:spMkLst>
        </pc:spChg>
        <pc:spChg chg="add mod">
          <ac:chgData name="Celine Rose Nicole Choukair" userId="99fb0bcb-3137-4cd1-9e2c-4b0bf91b42b5" providerId="ADAL" clId="{16AD05A4-D6B8-CF42-9834-DA2A8857BD70}" dt="2022-05-19T16:14:04.776" v="2691" actId="122"/>
          <ac:spMkLst>
            <pc:docMk/>
            <pc:sldMk cId="3872981918" sldId="2145709193"/>
            <ac:spMk id="23" creationId="{F457EC0E-0F7E-AED7-0A1E-5A630BB1802B}"/>
          </ac:spMkLst>
        </pc:spChg>
        <pc:spChg chg="mod">
          <ac:chgData name="Celine Rose Nicole Choukair" userId="99fb0bcb-3137-4cd1-9e2c-4b0bf91b42b5" providerId="ADAL" clId="{16AD05A4-D6B8-CF42-9834-DA2A8857BD70}" dt="2022-05-19T16:10:59.756" v="2527" actId="1035"/>
          <ac:spMkLst>
            <pc:docMk/>
            <pc:sldMk cId="3872981918" sldId="2145709193"/>
            <ac:spMk id="24" creationId="{4A4C3189-718C-EEEE-5808-71B50451D443}"/>
          </ac:spMkLst>
        </pc:spChg>
        <pc:spChg chg="mod">
          <ac:chgData name="Celine Rose Nicole Choukair" userId="99fb0bcb-3137-4cd1-9e2c-4b0bf91b42b5" providerId="ADAL" clId="{16AD05A4-D6B8-CF42-9834-DA2A8857BD70}" dt="2022-05-19T16:10:59.756" v="2527" actId="1035"/>
          <ac:spMkLst>
            <pc:docMk/>
            <pc:sldMk cId="3872981918" sldId="2145709193"/>
            <ac:spMk id="25" creationId="{CAECC2C5-8BE6-A5C2-FAC5-2BAF3059F81C}"/>
          </ac:spMkLst>
        </pc:spChg>
        <pc:spChg chg="add mod">
          <ac:chgData name="Celine Rose Nicole Choukair" userId="99fb0bcb-3137-4cd1-9e2c-4b0bf91b42b5" providerId="ADAL" clId="{16AD05A4-D6B8-CF42-9834-DA2A8857BD70}" dt="2022-05-19T16:14:04.776" v="2691" actId="122"/>
          <ac:spMkLst>
            <pc:docMk/>
            <pc:sldMk cId="3872981918" sldId="2145709193"/>
            <ac:spMk id="26" creationId="{6F824555-13EA-FE9E-1929-625393D0EFA3}"/>
          </ac:spMkLst>
        </pc:spChg>
        <pc:spChg chg="mod">
          <ac:chgData name="Celine Rose Nicole Choukair" userId="99fb0bcb-3137-4cd1-9e2c-4b0bf91b42b5" providerId="ADAL" clId="{16AD05A4-D6B8-CF42-9834-DA2A8857BD70}" dt="2022-05-19T16:10:59.756" v="2527" actId="1035"/>
          <ac:spMkLst>
            <pc:docMk/>
            <pc:sldMk cId="3872981918" sldId="2145709193"/>
            <ac:spMk id="27" creationId="{124A0E5A-3528-8BE7-D0F5-93352E0A44F6}"/>
          </ac:spMkLst>
        </pc:spChg>
        <pc:spChg chg="add mod">
          <ac:chgData name="Celine Rose Nicole Choukair" userId="99fb0bcb-3137-4cd1-9e2c-4b0bf91b42b5" providerId="ADAL" clId="{16AD05A4-D6B8-CF42-9834-DA2A8857BD70}" dt="2022-05-19T16:14:42.716" v="2708"/>
          <ac:spMkLst>
            <pc:docMk/>
            <pc:sldMk cId="3872981918" sldId="2145709193"/>
            <ac:spMk id="28" creationId="{7E14FF34-85B9-8640-0845-65967600778F}"/>
          </ac:spMkLst>
        </pc:spChg>
        <pc:spChg chg="add mod">
          <ac:chgData name="Celine Rose Nicole Choukair" userId="99fb0bcb-3137-4cd1-9e2c-4b0bf91b42b5" providerId="ADAL" clId="{16AD05A4-D6B8-CF42-9834-DA2A8857BD70}" dt="2022-05-19T16:14:39.653" v="2706"/>
          <ac:spMkLst>
            <pc:docMk/>
            <pc:sldMk cId="3872981918" sldId="2145709193"/>
            <ac:spMk id="29" creationId="{18E15E1C-5C81-CF4F-104E-B2CAC07D4D2E}"/>
          </ac:spMkLst>
        </pc:spChg>
        <pc:spChg chg="mod">
          <ac:chgData name="Celine Rose Nicole Choukair" userId="99fb0bcb-3137-4cd1-9e2c-4b0bf91b42b5" providerId="ADAL" clId="{16AD05A4-D6B8-CF42-9834-DA2A8857BD70}" dt="2022-05-19T16:10:59.756" v="2527" actId="1035"/>
          <ac:spMkLst>
            <pc:docMk/>
            <pc:sldMk cId="3872981918" sldId="2145709193"/>
            <ac:spMk id="30" creationId="{E918E916-335E-FE39-871E-550CB50DF9BE}"/>
          </ac:spMkLst>
        </pc:spChg>
        <pc:spChg chg="mod">
          <ac:chgData name="Celine Rose Nicole Choukair" userId="99fb0bcb-3137-4cd1-9e2c-4b0bf91b42b5" providerId="ADAL" clId="{16AD05A4-D6B8-CF42-9834-DA2A8857BD70}" dt="2022-05-19T16:10:59.756" v="2527" actId="1035"/>
          <ac:spMkLst>
            <pc:docMk/>
            <pc:sldMk cId="3872981918" sldId="2145709193"/>
            <ac:spMk id="31" creationId="{579F44E9-D6E7-827B-4AF6-F291C6C9AD52}"/>
          </ac:spMkLst>
        </pc:spChg>
        <pc:spChg chg="add mod">
          <ac:chgData name="Celine Rose Nicole Choukair" userId="99fb0bcb-3137-4cd1-9e2c-4b0bf91b42b5" providerId="ADAL" clId="{16AD05A4-D6B8-CF42-9834-DA2A8857BD70}" dt="2022-05-19T16:14:36.653" v="2704"/>
          <ac:spMkLst>
            <pc:docMk/>
            <pc:sldMk cId="3872981918" sldId="2145709193"/>
            <ac:spMk id="32" creationId="{7BA62605-1146-4A83-2442-E41487629E06}"/>
          </ac:spMkLst>
        </pc:spChg>
        <pc:spChg chg="mod">
          <ac:chgData name="Celine Rose Nicole Choukair" userId="99fb0bcb-3137-4cd1-9e2c-4b0bf91b42b5" providerId="ADAL" clId="{16AD05A4-D6B8-CF42-9834-DA2A8857BD70}" dt="2022-05-19T16:11:37.752" v="2542" actId="1076"/>
          <ac:spMkLst>
            <pc:docMk/>
            <pc:sldMk cId="3872981918" sldId="2145709193"/>
            <ac:spMk id="33" creationId="{DD27E7C3-CD18-C940-8537-463126100B2B}"/>
          </ac:spMkLst>
        </pc:spChg>
        <pc:spChg chg="mod">
          <ac:chgData name="Celine Rose Nicole Choukair" userId="99fb0bcb-3137-4cd1-9e2c-4b0bf91b42b5" providerId="ADAL" clId="{16AD05A4-D6B8-CF42-9834-DA2A8857BD70}" dt="2022-05-19T16:10:59.756" v="2527" actId="1035"/>
          <ac:spMkLst>
            <pc:docMk/>
            <pc:sldMk cId="3872981918" sldId="2145709193"/>
            <ac:spMk id="34" creationId="{17ED361F-F58A-72E0-B27E-949F2AFEFA7D}"/>
          </ac:spMkLst>
        </pc:spChg>
        <pc:spChg chg="mod">
          <ac:chgData name="Celine Rose Nicole Choukair" userId="99fb0bcb-3137-4cd1-9e2c-4b0bf91b42b5" providerId="ADAL" clId="{16AD05A4-D6B8-CF42-9834-DA2A8857BD70}" dt="2022-05-19T16:10:59.756" v="2527" actId="1035"/>
          <ac:spMkLst>
            <pc:docMk/>
            <pc:sldMk cId="3872981918" sldId="2145709193"/>
            <ac:spMk id="36" creationId="{88C65015-45B5-173F-1244-69642410DD42}"/>
          </ac:spMkLst>
        </pc:spChg>
        <pc:spChg chg="mod">
          <ac:chgData name="Celine Rose Nicole Choukair" userId="99fb0bcb-3137-4cd1-9e2c-4b0bf91b42b5" providerId="ADAL" clId="{16AD05A4-D6B8-CF42-9834-DA2A8857BD70}" dt="2022-05-19T16:10:59.756" v="2527" actId="1035"/>
          <ac:spMkLst>
            <pc:docMk/>
            <pc:sldMk cId="3872981918" sldId="2145709193"/>
            <ac:spMk id="37" creationId="{AEFEEEE9-6770-04C0-2E63-3C8A0D8F445B}"/>
          </ac:spMkLst>
        </pc:spChg>
        <pc:spChg chg="mod">
          <ac:chgData name="Celine Rose Nicole Choukair" userId="99fb0bcb-3137-4cd1-9e2c-4b0bf91b42b5" providerId="ADAL" clId="{16AD05A4-D6B8-CF42-9834-DA2A8857BD70}" dt="2022-05-19T16:10:59.756" v="2527" actId="1035"/>
          <ac:spMkLst>
            <pc:docMk/>
            <pc:sldMk cId="3872981918" sldId="2145709193"/>
            <ac:spMk id="39" creationId="{576AB3E6-B39C-3D23-0BA1-36AC9B6245F1}"/>
          </ac:spMkLst>
        </pc:spChg>
        <pc:spChg chg="mod">
          <ac:chgData name="Celine Rose Nicole Choukair" userId="99fb0bcb-3137-4cd1-9e2c-4b0bf91b42b5" providerId="ADAL" clId="{16AD05A4-D6B8-CF42-9834-DA2A8857BD70}" dt="2022-05-19T16:10:59.756" v="2527" actId="1035"/>
          <ac:spMkLst>
            <pc:docMk/>
            <pc:sldMk cId="3872981918" sldId="2145709193"/>
            <ac:spMk id="40" creationId="{693BB84A-8160-8561-119D-0885C156D4C5}"/>
          </ac:spMkLst>
        </pc:spChg>
        <pc:spChg chg="mod">
          <ac:chgData name="Celine Rose Nicole Choukair" userId="99fb0bcb-3137-4cd1-9e2c-4b0bf91b42b5" providerId="ADAL" clId="{16AD05A4-D6B8-CF42-9834-DA2A8857BD70}" dt="2022-05-19T16:10:59.756" v="2527" actId="1035"/>
          <ac:spMkLst>
            <pc:docMk/>
            <pc:sldMk cId="3872981918" sldId="2145709193"/>
            <ac:spMk id="41" creationId="{61371961-1A65-2BA2-F7DC-B93C970B6B88}"/>
          </ac:spMkLst>
        </pc:spChg>
        <pc:spChg chg="mod">
          <ac:chgData name="Celine Rose Nicole Choukair" userId="99fb0bcb-3137-4cd1-9e2c-4b0bf91b42b5" providerId="ADAL" clId="{16AD05A4-D6B8-CF42-9834-DA2A8857BD70}" dt="2022-05-19T16:10:59.756" v="2527" actId="1035"/>
          <ac:spMkLst>
            <pc:docMk/>
            <pc:sldMk cId="3872981918" sldId="2145709193"/>
            <ac:spMk id="42" creationId="{5D76897E-40F6-67CB-5608-812AA6C6972C}"/>
          </ac:spMkLst>
        </pc:spChg>
        <pc:spChg chg="mod">
          <ac:chgData name="Celine Rose Nicole Choukair" userId="99fb0bcb-3137-4cd1-9e2c-4b0bf91b42b5" providerId="ADAL" clId="{16AD05A4-D6B8-CF42-9834-DA2A8857BD70}" dt="2022-05-19T16:17:51.812" v="2745" actId="20577"/>
          <ac:spMkLst>
            <pc:docMk/>
            <pc:sldMk cId="3872981918" sldId="2145709193"/>
            <ac:spMk id="45" creationId="{C995B250-CEAC-6E4F-8474-73820D7394AB}"/>
          </ac:spMkLst>
        </pc:spChg>
        <pc:picChg chg="mod">
          <ac:chgData name="Celine Rose Nicole Choukair" userId="99fb0bcb-3137-4cd1-9e2c-4b0bf91b42b5" providerId="ADAL" clId="{16AD05A4-D6B8-CF42-9834-DA2A8857BD70}" dt="2022-05-19T16:10:59.756" v="2527" actId="1035"/>
          <ac:picMkLst>
            <pc:docMk/>
            <pc:sldMk cId="3872981918" sldId="2145709193"/>
            <ac:picMk id="10" creationId="{1550BAEF-E0B9-4330-9385-74A3D21D194E}"/>
          </ac:picMkLst>
        </pc:picChg>
        <pc:picChg chg="mod">
          <ac:chgData name="Celine Rose Nicole Choukair" userId="99fb0bcb-3137-4cd1-9e2c-4b0bf91b42b5" providerId="ADAL" clId="{16AD05A4-D6B8-CF42-9834-DA2A8857BD70}" dt="2022-05-19T16:10:59.756" v="2527" actId="1035"/>
          <ac:picMkLst>
            <pc:docMk/>
            <pc:sldMk cId="3872981918" sldId="2145709193"/>
            <ac:picMk id="11" creationId="{C6F2A417-0600-3D05-AE55-6FB0266668E3}"/>
          </ac:picMkLst>
        </pc:picChg>
        <pc:picChg chg="mod">
          <ac:chgData name="Celine Rose Nicole Choukair" userId="99fb0bcb-3137-4cd1-9e2c-4b0bf91b42b5" providerId="ADAL" clId="{16AD05A4-D6B8-CF42-9834-DA2A8857BD70}" dt="2022-05-19T16:10:59.756" v="2527" actId="1035"/>
          <ac:picMkLst>
            <pc:docMk/>
            <pc:sldMk cId="3872981918" sldId="2145709193"/>
            <ac:picMk id="38" creationId="{34A2EE27-58D7-2D31-8B04-47141786A0C7}"/>
          </ac:picMkLst>
        </pc:picChg>
      </pc:sldChg>
      <pc:sldChg chg="del">
        <pc:chgData name="Celine Rose Nicole Choukair" userId="99fb0bcb-3137-4cd1-9e2c-4b0bf91b42b5" providerId="ADAL" clId="{16AD05A4-D6B8-CF42-9834-DA2A8857BD70}" dt="2022-05-19T16:07:52.972" v="2498" actId="2696"/>
        <pc:sldMkLst>
          <pc:docMk/>
          <pc:sldMk cId="353764873" sldId="2145709195"/>
        </pc:sldMkLst>
      </pc:sldChg>
      <pc:sldChg chg="addSp delSp modSp mod">
        <pc:chgData name="Celine Rose Nicole Choukair" userId="99fb0bcb-3137-4cd1-9e2c-4b0bf91b42b5" providerId="ADAL" clId="{16AD05A4-D6B8-CF42-9834-DA2A8857BD70}" dt="2022-05-22T22:13:29.210" v="4922"/>
        <pc:sldMkLst>
          <pc:docMk/>
          <pc:sldMk cId="3967754698" sldId="2145709196"/>
        </pc:sldMkLst>
        <pc:spChg chg="del">
          <ac:chgData name="Celine Rose Nicole Choukair" userId="99fb0bcb-3137-4cd1-9e2c-4b0bf91b42b5" providerId="ADAL" clId="{16AD05A4-D6B8-CF42-9834-DA2A8857BD70}" dt="2022-05-22T20:26:57.998" v="3035"/>
          <ac:spMkLst>
            <pc:docMk/>
            <pc:sldMk cId="3967754698" sldId="2145709196"/>
            <ac:spMk id="5" creationId="{F36C395D-236F-3D46-9B82-6021C1FC5BE6}"/>
          </ac:spMkLst>
        </pc:spChg>
        <pc:spChg chg="del">
          <ac:chgData name="Celine Rose Nicole Choukair" userId="99fb0bcb-3137-4cd1-9e2c-4b0bf91b42b5" providerId="ADAL" clId="{16AD05A4-D6B8-CF42-9834-DA2A8857BD70}" dt="2022-05-22T20:26:35.409" v="3034" actId="478"/>
          <ac:spMkLst>
            <pc:docMk/>
            <pc:sldMk cId="3967754698" sldId="2145709196"/>
            <ac:spMk id="6" creationId="{15AD1D71-12CF-21B0-40A0-588881432718}"/>
          </ac:spMkLst>
        </pc:spChg>
        <pc:spChg chg="add mod">
          <ac:chgData name="Celine Rose Nicole Choukair" userId="99fb0bcb-3137-4cd1-9e2c-4b0bf91b42b5" providerId="ADAL" clId="{16AD05A4-D6B8-CF42-9834-DA2A8857BD70}" dt="2022-05-22T20:31:17.578" v="3091" actId="167"/>
          <ac:spMkLst>
            <pc:docMk/>
            <pc:sldMk cId="3967754698" sldId="2145709196"/>
            <ac:spMk id="9" creationId="{30EC367A-9686-BEFF-5F41-7ACC9453A71B}"/>
          </ac:spMkLst>
        </pc:spChg>
        <pc:spChg chg="add del mod">
          <ac:chgData name="Celine Rose Nicole Choukair" userId="99fb0bcb-3137-4cd1-9e2c-4b0bf91b42b5" providerId="ADAL" clId="{16AD05A4-D6B8-CF42-9834-DA2A8857BD70}" dt="2022-05-22T20:34:15.060" v="3122"/>
          <ac:spMkLst>
            <pc:docMk/>
            <pc:sldMk cId="3967754698" sldId="2145709196"/>
            <ac:spMk id="10" creationId="{451B71DC-5718-EFE1-C648-AE17E4E3BA8C}"/>
          </ac:spMkLst>
        </pc:spChg>
        <pc:spChg chg="add mod">
          <ac:chgData name="Celine Rose Nicole Choukair" userId="99fb0bcb-3137-4cd1-9e2c-4b0bf91b42b5" providerId="ADAL" clId="{16AD05A4-D6B8-CF42-9834-DA2A8857BD70}" dt="2022-05-22T20:44:21.637" v="3411" actId="1076"/>
          <ac:spMkLst>
            <pc:docMk/>
            <pc:sldMk cId="3967754698" sldId="2145709196"/>
            <ac:spMk id="13" creationId="{103A8865-2546-1C98-5824-6C94D9BEEF22}"/>
          </ac:spMkLst>
        </pc:spChg>
        <pc:spChg chg="add mod">
          <ac:chgData name="Celine Rose Nicole Choukair" userId="99fb0bcb-3137-4cd1-9e2c-4b0bf91b42b5" providerId="ADAL" clId="{16AD05A4-D6B8-CF42-9834-DA2A8857BD70}" dt="2022-05-22T22:13:29.210" v="4922"/>
          <ac:spMkLst>
            <pc:docMk/>
            <pc:sldMk cId="3967754698" sldId="2145709196"/>
            <ac:spMk id="20" creationId="{04A3A008-2A80-3474-0DC6-7E91B7DC9347}"/>
          </ac:spMkLst>
        </pc:spChg>
        <pc:spChg chg="mod">
          <ac:chgData name="Celine Rose Nicole Choukair" userId="99fb0bcb-3137-4cd1-9e2c-4b0bf91b42b5" providerId="ADAL" clId="{16AD05A4-D6B8-CF42-9834-DA2A8857BD70}" dt="2022-05-22T21:40:55.470" v="3813" actId="20577"/>
          <ac:spMkLst>
            <pc:docMk/>
            <pc:sldMk cId="3967754698" sldId="2145709196"/>
            <ac:spMk id="28" creationId="{1707D6E5-FBC2-4348-8CCB-0F1B8C5B4AC0}"/>
          </ac:spMkLst>
        </pc:spChg>
        <pc:spChg chg="del">
          <ac:chgData name="Celine Rose Nicole Choukair" userId="99fb0bcb-3137-4cd1-9e2c-4b0bf91b42b5" providerId="ADAL" clId="{16AD05A4-D6B8-CF42-9834-DA2A8857BD70}" dt="2022-05-22T22:13:28.545" v="4921" actId="478"/>
          <ac:spMkLst>
            <pc:docMk/>
            <pc:sldMk cId="3967754698" sldId="2145709196"/>
            <ac:spMk id="29" creationId="{B2D2609A-5951-3C4F-9E53-4B325EA41E04}"/>
          </ac:spMkLst>
        </pc:spChg>
        <pc:spChg chg="mod">
          <ac:chgData name="Celine Rose Nicole Choukair" userId="99fb0bcb-3137-4cd1-9e2c-4b0bf91b42b5" providerId="ADAL" clId="{16AD05A4-D6B8-CF42-9834-DA2A8857BD70}" dt="2022-05-22T21:42:19.610" v="3876" actId="20577"/>
          <ac:spMkLst>
            <pc:docMk/>
            <pc:sldMk cId="3967754698" sldId="2145709196"/>
            <ac:spMk id="30" creationId="{37A31358-C64D-BA4B-B76C-08DCCEFFF2BF}"/>
          </ac:spMkLst>
        </pc:spChg>
        <pc:graphicFrameChg chg="add del mod modGraphic">
          <ac:chgData name="Celine Rose Nicole Choukair" userId="99fb0bcb-3137-4cd1-9e2c-4b0bf91b42b5" providerId="ADAL" clId="{16AD05A4-D6B8-CF42-9834-DA2A8857BD70}" dt="2022-05-22T20:34:10.586" v="3119" actId="478"/>
          <ac:graphicFrameMkLst>
            <pc:docMk/>
            <pc:sldMk cId="3967754698" sldId="2145709196"/>
            <ac:graphicFrameMk id="2" creationId="{5C419496-5604-4C46-E7EC-19E6AEF41447}"/>
          </ac:graphicFrameMkLst>
        </pc:graphicFrameChg>
        <pc:graphicFrameChg chg="add del mod">
          <ac:chgData name="Celine Rose Nicole Choukair" userId="99fb0bcb-3137-4cd1-9e2c-4b0bf91b42b5" providerId="ADAL" clId="{16AD05A4-D6B8-CF42-9834-DA2A8857BD70}" dt="2022-05-22T20:30:33.122" v="3082"/>
          <ac:graphicFrameMkLst>
            <pc:docMk/>
            <pc:sldMk cId="3967754698" sldId="2145709196"/>
            <ac:graphicFrameMk id="3" creationId="{1BC71D3A-ED5F-F048-C173-63D4835D16F6}"/>
          </ac:graphicFrameMkLst>
        </pc:graphicFrameChg>
        <pc:graphicFrameChg chg="add del mod">
          <ac:chgData name="Celine Rose Nicole Choukair" userId="99fb0bcb-3137-4cd1-9e2c-4b0bf91b42b5" providerId="ADAL" clId="{16AD05A4-D6B8-CF42-9834-DA2A8857BD70}" dt="2022-05-22T20:32:54.735" v="3108"/>
          <ac:graphicFrameMkLst>
            <pc:docMk/>
            <pc:sldMk cId="3967754698" sldId="2145709196"/>
            <ac:graphicFrameMk id="4" creationId="{834F131E-895F-04E9-F557-9154DB61F80F}"/>
          </ac:graphicFrameMkLst>
        </pc:graphicFrameChg>
        <pc:graphicFrameChg chg="add del mod modGraphic">
          <ac:chgData name="Celine Rose Nicole Choukair" userId="99fb0bcb-3137-4cd1-9e2c-4b0bf91b42b5" providerId="ADAL" clId="{16AD05A4-D6B8-CF42-9834-DA2A8857BD70}" dt="2022-05-22T20:34:13.677" v="3121" actId="478"/>
          <ac:graphicFrameMkLst>
            <pc:docMk/>
            <pc:sldMk cId="3967754698" sldId="2145709196"/>
            <ac:graphicFrameMk id="7" creationId="{8442B54A-F7E4-DA42-B3D7-63F16FB30A4F}"/>
          </ac:graphicFrameMkLst>
        </pc:graphicFrameChg>
        <pc:graphicFrameChg chg="add mod modGraphic">
          <ac:chgData name="Celine Rose Nicole Choukair" userId="99fb0bcb-3137-4cd1-9e2c-4b0bf91b42b5" providerId="ADAL" clId="{16AD05A4-D6B8-CF42-9834-DA2A8857BD70}" dt="2022-05-22T20:42:21.528" v="3312"/>
          <ac:graphicFrameMkLst>
            <pc:docMk/>
            <pc:sldMk cId="3967754698" sldId="2145709196"/>
            <ac:graphicFrameMk id="11" creationId="{972C5AA8-274E-1795-6150-E62A9DD7B19A}"/>
          </ac:graphicFrameMkLst>
        </pc:graphicFrameChg>
        <pc:graphicFrameChg chg="add del mod">
          <ac:chgData name="Celine Rose Nicole Choukair" userId="99fb0bcb-3137-4cd1-9e2c-4b0bf91b42b5" providerId="ADAL" clId="{16AD05A4-D6B8-CF42-9834-DA2A8857BD70}" dt="2022-05-22T20:38:20.632" v="3272" actId="478"/>
          <ac:graphicFrameMkLst>
            <pc:docMk/>
            <pc:sldMk cId="3967754698" sldId="2145709196"/>
            <ac:graphicFrameMk id="12" creationId="{60F7198F-6CF1-83D8-EA42-61517755AA29}"/>
          </ac:graphicFrameMkLst>
        </pc:graphicFrameChg>
        <pc:graphicFrameChg chg="add del mod">
          <ac:chgData name="Celine Rose Nicole Choukair" userId="99fb0bcb-3137-4cd1-9e2c-4b0bf91b42b5" providerId="ADAL" clId="{16AD05A4-D6B8-CF42-9834-DA2A8857BD70}" dt="2022-05-22T20:42:29.242" v="3315" actId="478"/>
          <ac:graphicFrameMkLst>
            <pc:docMk/>
            <pc:sldMk cId="3967754698" sldId="2145709196"/>
            <ac:graphicFrameMk id="14" creationId="{4C3BD1AE-2A99-E87E-FFB3-9D48A69C50FD}"/>
          </ac:graphicFrameMkLst>
        </pc:graphicFrameChg>
        <pc:graphicFrameChg chg="add del mod modGraphic">
          <ac:chgData name="Celine Rose Nicole Choukair" userId="99fb0bcb-3137-4cd1-9e2c-4b0bf91b42b5" providerId="ADAL" clId="{16AD05A4-D6B8-CF42-9834-DA2A8857BD70}" dt="2022-05-22T20:38:20.632" v="3272" actId="478"/>
          <ac:graphicFrameMkLst>
            <pc:docMk/>
            <pc:sldMk cId="3967754698" sldId="2145709196"/>
            <ac:graphicFrameMk id="15" creationId="{D0EFFE40-FA3E-0874-DE54-52DEE7CD8464}"/>
          </ac:graphicFrameMkLst>
        </pc:graphicFrameChg>
        <pc:graphicFrameChg chg="add mod modGraphic">
          <ac:chgData name="Celine Rose Nicole Choukair" userId="99fb0bcb-3137-4cd1-9e2c-4b0bf91b42b5" providerId="ADAL" clId="{16AD05A4-D6B8-CF42-9834-DA2A8857BD70}" dt="2022-05-22T20:44:16.565" v="3410" actId="14100"/>
          <ac:graphicFrameMkLst>
            <pc:docMk/>
            <pc:sldMk cId="3967754698" sldId="2145709196"/>
            <ac:graphicFrameMk id="16" creationId="{A7D9ECAB-F00E-C7B5-3FAB-70C3FBF91E6B}"/>
          </ac:graphicFrameMkLst>
        </pc:graphicFrameChg>
      </pc:sldChg>
      <pc:sldChg chg="del">
        <pc:chgData name="Celine Rose Nicole Choukair" userId="99fb0bcb-3137-4cd1-9e2c-4b0bf91b42b5" providerId="ADAL" clId="{16AD05A4-D6B8-CF42-9834-DA2A8857BD70}" dt="2022-05-22T20:50:06.661" v="3506" actId="2696"/>
        <pc:sldMkLst>
          <pc:docMk/>
          <pc:sldMk cId="3866475123" sldId="2145709197"/>
        </pc:sldMkLst>
      </pc:sldChg>
      <pc:sldChg chg="del">
        <pc:chgData name="Celine Rose Nicole Choukair" userId="99fb0bcb-3137-4cd1-9e2c-4b0bf91b42b5" providerId="ADAL" clId="{16AD05A4-D6B8-CF42-9834-DA2A8857BD70}" dt="2022-05-19T16:07:54.487" v="2499" actId="2696"/>
        <pc:sldMkLst>
          <pc:docMk/>
          <pc:sldMk cId="4120631751" sldId="2145709198"/>
        </pc:sldMkLst>
      </pc:sldChg>
      <pc:sldChg chg="addSp delSp modSp del">
        <pc:chgData name="Celine Rose Nicole Choukair" userId="99fb0bcb-3137-4cd1-9e2c-4b0bf91b42b5" providerId="ADAL" clId="{16AD05A4-D6B8-CF42-9834-DA2A8857BD70}" dt="2022-05-19T16:48:47.746" v="2919" actId="2696"/>
        <pc:sldMkLst>
          <pc:docMk/>
          <pc:sldMk cId="386501981" sldId="2145709199"/>
        </pc:sldMkLst>
        <pc:spChg chg="add del mod">
          <ac:chgData name="Celine Rose Nicole Choukair" userId="99fb0bcb-3137-4cd1-9e2c-4b0bf91b42b5" providerId="ADAL" clId="{16AD05A4-D6B8-CF42-9834-DA2A8857BD70}" dt="2022-05-18T17:13:47.839" v="19"/>
          <ac:spMkLst>
            <pc:docMk/>
            <pc:sldMk cId="386501981" sldId="2145709199"/>
            <ac:spMk id="7" creationId="{48652DA9-348D-4D3E-D6F0-2B6BFD5589F3}"/>
          </ac:spMkLst>
        </pc:spChg>
        <pc:picChg chg="add del mod">
          <ac:chgData name="Celine Rose Nicole Choukair" userId="99fb0bcb-3137-4cd1-9e2c-4b0bf91b42b5" providerId="ADAL" clId="{16AD05A4-D6B8-CF42-9834-DA2A8857BD70}" dt="2022-05-19T10:54:32.962" v="2304"/>
          <ac:picMkLst>
            <pc:docMk/>
            <pc:sldMk cId="386501981" sldId="2145709199"/>
            <ac:picMk id="8" creationId="{7297707E-AE4B-46FD-4AF3-65906FE72C69}"/>
          </ac:picMkLst>
        </pc:picChg>
      </pc:sldChg>
      <pc:sldChg chg="addSp delSp modSp mod modNotesTx">
        <pc:chgData name="Celine Rose Nicole Choukair" userId="99fb0bcb-3137-4cd1-9e2c-4b0bf91b42b5" providerId="ADAL" clId="{16AD05A4-D6B8-CF42-9834-DA2A8857BD70}" dt="2022-05-22T22:39:03.564" v="5118" actId="20577"/>
        <pc:sldMkLst>
          <pc:docMk/>
          <pc:sldMk cId="3823892125" sldId="2145709200"/>
        </pc:sldMkLst>
        <pc:spChg chg="add del mod">
          <ac:chgData name="Celine Rose Nicole Choukair" userId="99fb0bcb-3137-4cd1-9e2c-4b0bf91b42b5" providerId="ADAL" clId="{16AD05A4-D6B8-CF42-9834-DA2A8857BD70}" dt="2022-05-19T09:53:43.639" v="763" actId="478"/>
          <ac:spMkLst>
            <pc:docMk/>
            <pc:sldMk cId="3823892125" sldId="2145709200"/>
            <ac:spMk id="2" creationId="{2E2699D8-636E-3F4C-F4B4-D86433293521}"/>
          </ac:spMkLst>
        </pc:spChg>
        <pc:spChg chg="add del mod">
          <ac:chgData name="Celine Rose Nicole Choukair" userId="99fb0bcb-3137-4cd1-9e2c-4b0bf91b42b5" providerId="ADAL" clId="{16AD05A4-D6B8-CF42-9834-DA2A8857BD70}" dt="2022-05-19T09:56:11.043" v="899" actId="478"/>
          <ac:spMkLst>
            <pc:docMk/>
            <pc:sldMk cId="3823892125" sldId="2145709200"/>
            <ac:spMk id="3" creationId="{391F10CD-645F-E6A4-A432-80EBABF48AED}"/>
          </ac:spMkLst>
        </pc:spChg>
        <pc:spChg chg="add mod">
          <ac:chgData name="Celine Rose Nicole Choukair" userId="99fb0bcb-3137-4cd1-9e2c-4b0bf91b42b5" providerId="ADAL" clId="{16AD05A4-D6B8-CF42-9834-DA2A8857BD70}" dt="2022-05-19T10:10:35.446" v="1092"/>
          <ac:spMkLst>
            <pc:docMk/>
            <pc:sldMk cId="3823892125" sldId="2145709200"/>
            <ac:spMk id="4" creationId="{D6B8286D-CF47-851E-CCF4-A86193A97040}"/>
          </ac:spMkLst>
        </pc:spChg>
        <pc:spChg chg="del">
          <ac:chgData name="Celine Rose Nicole Choukair" userId="99fb0bcb-3137-4cd1-9e2c-4b0bf91b42b5" providerId="ADAL" clId="{16AD05A4-D6B8-CF42-9834-DA2A8857BD70}" dt="2022-05-19T09:47:30.561" v="108" actId="478"/>
          <ac:spMkLst>
            <pc:docMk/>
            <pc:sldMk cId="3823892125" sldId="2145709200"/>
            <ac:spMk id="6" creationId="{1AAB676C-30D3-1B46-3B2C-FCF65D31F4C4}"/>
          </ac:spMkLst>
        </pc:spChg>
        <pc:spChg chg="add del mod">
          <ac:chgData name="Celine Rose Nicole Choukair" userId="99fb0bcb-3137-4cd1-9e2c-4b0bf91b42b5" providerId="ADAL" clId="{16AD05A4-D6B8-CF42-9834-DA2A8857BD70}" dt="2022-05-19T10:13:39.209" v="1104" actId="478"/>
          <ac:spMkLst>
            <pc:docMk/>
            <pc:sldMk cId="3823892125" sldId="2145709200"/>
            <ac:spMk id="7" creationId="{27850057-FF2D-6268-FFF0-EAA3257C9494}"/>
          </ac:spMkLst>
        </pc:spChg>
        <pc:spChg chg="add mod">
          <ac:chgData name="Celine Rose Nicole Choukair" userId="99fb0bcb-3137-4cd1-9e2c-4b0bf91b42b5" providerId="ADAL" clId="{16AD05A4-D6B8-CF42-9834-DA2A8857BD70}" dt="2022-05-22T22:39:03.564" v="5118" actId="20577"/>
          <ac:spMkLst>
            <pc:docMk/>
            <pc:sldMk cId="3823892125" sldId="2145709200"/>
            <ac:spMk id="8" creationId="{56EA453F-810C-7E12-ABE9-F6ED073AFE3E}"/>
          </ac:spMkLst>
        </pc:spChg>
        <pc:spChg chg="add mod">
          <ac:chgData name="Celine Rose Nicole Choukair" userId="99fb0bcb-3137-4cd1-9e2c-4b0bf91b42b5" providerId="ADAL" clId="{16AD05A4-D6B8-CF42-9834-DA2A8857BD70}" dt="2022-05-19T10:09:08.310" v="1050" actId="465"/>
          <ac:spMkLst>
            <pc:docMk/>
            <pc:sldMk cId="3823892125" sldId="2145709200"/>
            <ac:spMk id="9" creationId="{829C5AEC-38DA-A50B-A960-433B7AE4BD76}"/>
          </ac:spMkLst>
        </pc:spChg>
        <pc:spChg chg="add mod">
          <ac:chgData name="Celine Rose Nicole Choukair" userId="99fb0bcb-3137-4cd1-9e2c-4b0bf91b42b5" providerId="ADAL" clId="{16AD05A4-D6B8-CF42-9834-DA2A8857BD70}" dt="2022-05-19T10:09:27.079" v="1064" actId="14100"/>
          <ac:spMkLst>
            <pc:docMk/>
            <pc:sldMk cId="3823892125" sldId="2145709200"/>
            <ac:spMk id="10" creationId="{E09288B6-05A1-2483-446D-E83F0D6C71ED}"/>
          </ac:spMkLst>
        </pc:spChg>
        <pc:spChg chg="add mod">
          <ac:chgData name="Celine Rose Nicole Choukair" userId="99fb0bcb-3137-4cd1-9e2c-4b0bf91b42b5" providerId="ADAL" clId="{16AD05A4-D6B8-CF42-9834-DA2A8857BD70}" dt="2022-05-19T10:09:31.691" v="1066"/>
          <ac:spMkLst>
            <pc:docMk/>
            <pc:sldMk cId="3823892125" sldId="2145709200"/>
            <ac:spMk id="11" creationId="{2194A420-73E1-12CB-8E10-B26B042A3C00}"/>
          </ac:spMkLst>
        </pc:spChg>
        <pc:spChg chg="mod">
          <ac:chgData name="Celine Rose Nicole Choukair" userId="99fb0bcb-3137-4cd1-9e2c-4b0bf91b42b5" providerId="ADAL" clId="{16AD05A4-D6B8-CF42-9834-DA2A8857BD70}" dt="2022-05-19T09:53:05.328" v="675"/>
          <ac:spMkLst>
            <pc:docMk/>
            <pc:sldMk cId="3823892125" sldId="2145709200"/>
            <ac:spMk id="13" creationId="{BC8601BD-6170-8F98-394B-F7EF6A40382C}"/>
          </ac:spMkLst>
        </pc:spChg>
        <pc:spChg chg="mod">
          <ac:chgData name="Celine Rose Nicole Choukair" userId="99fb0bcb-3137-4cd1-9e2c-4b0bf91b42b5" providerId="ADAL" clId="{16AD05A4-D6B8-CF42-9834-DA2A8857BD70}" dt="2022-05-19T09:53:05.328" v="675"/>
          <ac:spMkLst>
            <pc:docMk/>
            <pc:sldMk cId="3823892125" sldId="2145709200"/>
            <ac:spMk id="14" creationId="{41631E06-DB26-5FD1-7EF0-A6952631A0EA}"/>
          </ac:spMkLst>
        </pc:spChg>
        <pc:spChg chg="mod">
          <ac:chgData name="Celine Rose Nicole Choukair" userId="99fb0bcb-3137-4cd1-9e2c-4b0bf91b42b5" providerId="ADAL" clId="{16AD05A4-D6B8-CF42-9834-DA2A8857BD70}" dt="2022-05-19T09:53:05.328" v="675"/>
          <ac:spMkLst>
            <pc:docMk/>
            <pc:sldMk cId="3823892125" sldId="2145709200"/>
            <ac:spMk id="15" creationId="{D3455AA9-AC9F-7797-65A4-DF752F2F5A66}"/>
          </ac:spMkLst>
        </pc:spChg>
        <pc:spChg chg="mod">
          <ac:chgData name="Celine Rose Nicole Choukair" userId="99fb0bcb-3137-4cd1-9e2c-4b0bf91b42b5" providerId="ADAL" clId="{16AD05A4-D6B8-CF42-9834-DA2A8857BD70}" dt="2022-05-19T09:53:05.328" v="675"/>
          <ac:spMkLst>
            <pc:docMk/>
            <pc:sldMk cId="3823892125" sldId="2145709200"/>
            <ac:spMk id="16" creationId="{CDBC42E2-F1B3-8880-A1A8-50F32C7D13D7}"/>
          </ac:spMkLst>
        </pc:spChg>
        <pc:spChg chg="mod">
          <ac:chgData name="Celine Rose Nicole Choukair" userId="99fb0bcb-3137-4cd1-9e2c-4b0bf91b42b5" providerId="ADAL" clId="{16AD05A4-D6B8-CF42-9834-DA2A8857BD70}" dt="2022-05-19T09:53:05.328" v="675"/>
          <ac:spMkLst>
            <pc:docMk/>
            <pc:sldMk cId="3823892125" sldId="2145709200"/>
            <ac:spMk id="17" creationId="{48CBCB9F-2C89-3B3E-34FD-BA703795AC47}"/>
          </ac:spMkLst>
        </pc:spChg>
        <pc:spChg chg="mod">
          <ac:chgData name="Celine Rose Nicole Choukair" userId="99fb0bcb-3137-4cd1-9e2c-4b0bf91b42b5" providerId="ADAL" clId="{16AD05A4-D6B8-CF42-9834-DA2A8857BD70}" dt="2022-05-19T09:53:05.328" v="675"/>
          <ac:spMkLst>
            <pc:docMk/>
            <pc:sldMk cId="3823892125" sldId="2145709200"/>
            <ac:spMk id="18" creationId="{397B4391-3F74-90FD-D090-D1C69F926B3A}"/>
          </ac:spMkLst>
        </pc:spChg>
        <pc:spChg chg="mod">
          <ac:chgData name="Celine Rose Nicole Choukair" userId="99fb0bcb-3137-4cd1-9e2c-4b0bf91b42b5" providerId="ADAL" clId="{16AD05A4-D6B8-CF42-9834-DA2A8857BD70}" dt="2022-05-19T09:53:05.328" v="675"/>
          <ac:spMkLst>
            <pc:docMk/>
            <pc:sldMk cId="3823892125" sldId="2145709200"/>
            <ac:spMk id="19" creationId="{64C09E1D-ED69-2004-15E1-C539FC9455C0}"/>
          </ac:spMkLst>
        </pc:spChg>
        <pc:spChg chg="mod">
          <ac:chgData name="Celine Rose Nicole Choukair" userId="99fb0bcb-3137-4cd1-9e2c-4b0bf91b42b5" providerId="ADAL" clId="{16AD05A4-D6B8-CF42-9834-DA2A8857BD70}" dt="2022-05-19T09:53:05.328" v="675"/>
          <ac:spMkLst>
            <pc:docMk/>
            <pc:sldMk cId="3823892125" sldId="2145709200"/>
            <ac:spMk id="20" creationId="{9128417F-34DA-703C-4FF0-EC90C55A777F}"/>
          </ac:spMkLst>
        </pc:spChg>
        <pc:spChg chg="add mod">
          <ac:chgData name="Celine Rose Nicole Choukair" userId="99fb0bcb-3137-4cd1-9e2c-4b0bf91b42b5" providerId="ADAL" clId="{16AD05A4-D6B8-CF42-9834-DA2A8857BD70}" dt="2022-05-22T22:13:39.191" v="4926"/>
          <ac:spMkLst>
            <pc:docMk/>
            <pc:sldMk cId="3823892125" sldId="2145709200"/>
            <ac:spMk id="21" creationId="{B497ED16-6523-B14E-F6BA-21AD4D23DF31}"/>
          </ac:spMkLst>
        </pc:spChg>
        <pc:spChg chg="mod">
          <ac:chgData name="Celine Rose Nicole Choukair" userId="99fb0bcb-3137-4cd1-9e2c-4b0bf91b42b5" providerId="ADAL" clId="{16AD05A4-D6B8-CF42-9834-DA2A8857BD70}" dt="2022-05-19T09:53:12.800" v="679"/>
          <ac:spMkLst>
            <pc:docMk/>
            <pc:sldMk cId="3823892125" sldId="2145709200"/>
            <ac:spMk id="22" creationId="{8B10ADE5-04CC-6CB8-E717-2B1E266C6596}"/>
          </ac:spMkLst>
        </pc:spChg>
        <pc:spChg chg="mod">
          <ac:chgData name="Celine Rose Nicole Choukair" userId="99fb0bcb-3137-4cd1-9e2c-4b0bf91b42b5" providerId="ADAL" clId="{16AD05A4-D6B8-CF42-9834-DA2A8857BD70}" dt="2022-05-19T09:53:12.800" v="679"/>
          <ac:spMkLst>
            <pc:docMk/>
            <pc:sldMk cId="3823892125" sldId="2145709200"/>
            <ac:spMk id="23" creationId="{B0D180ED-9607-720E-0EB0-6178F5B3E51F}"/>
          </ac:spMkLst>
        </pc:spChg>
        <pc:spChg chg="mod">
          <ac:chgData name="Celine Rose Nicole Choukair" userId="99fb0bcb-3137-4cd1-9e2c-4b0bf91b42b5" providerId="ADAL" clId="{16AD05A4-D6B8-CF42-9834-DA2A8857BD70}" dt="2022-05-19T09:53:12.800" v="679"/>
          <ac:spMkLst>
            <pc:docMk/>
            <pc:sldMk cId="3823892125" sldId="2145709200"/>
            <ac:spMk id="24" creationId="{BF55A70F-E469-4678-EDE6-16326EB971E3}"/>
          </ac:spMkLst>
        </pc:spChg>
        <pc:spChg chg="add del mod">
          <ac:chgData name="Celine Rose Nicole Choukair" userId="99fb0bcb-3137-4cd1-9e2c-4b0bf91b42b5" providerId="ADAL" clId="{16AD05A4-D6B8-CF42-9834-DA2A8857BD70}" dt="2022-05-19T10:08:14.094" v="1020" actId="478"/>
          <ac:spMkLst>
            <pc:docMk/>
            <pc:sldMk cId="3823892125" sldId="2145709200"/>
            <ac:spMk id="25" creationId="{8AE4024C-153B-4DC2-4CA3-E4D136EB9ABE}"/>
          </ac:spMkLst>
        </pc:spChg>
        <pc:spChg chg="add del mod">
          <ac:chgData name="Celine Rose Nicole Choukair" userId="99fb0bcb-3137-4cd1-9e2c-4b0bf91b42b5" providerId="ADAL" clId="{16AD05A4-D6B8-CF42-9834-DA2A8857BD70}" dt="2022-05-19T10:17:31.472" v="1139" actId="478"/>
          <ac:spMkLst>
            <pc:docMk/>
            <pc:sldMk cId="3823892125" sldId="2145709200"/>
            <ac:spMk id="26" creationId="{2E7CD57E-1B98-6711-8B4E-EC0EE9DBC9CF}"/>
          </ac:spMkLst>
        </pc:spChg>
        <pc:spChg chg="add del mod">
          <ac:chgData name="Celine Rose Nicole Choukair" userId="99fb0bcb-3137-4cd1-9e2c-4b0bf91b42b5" providerId="ADAL" clId="{16AD05A4-D6B8-CF42-9834-DA2A8857BD70}" dt="2022-05-19T10:17:29.803" v="1138" actId="478"/>
          <ac:spMkLst>
            <pc:docMk/>
            <pc:sldMk cId="3823892125" sldId="2145709200"/>
            <ac:spMk id="27" creationId="{132816CF-FB82-57B9-BCBE-7F292EAC734A}"/>
          </ac:spMkLst>
        </pc:spChg>
        <pc:spChg chg="mod">
          <ac:chgData name="Celine Rose Nicole Choukair" userId="99fb0bcb-3137-4cd1-9e2c-4b0bf91b42b5" providerId="ADAL" clId="{16AD05A4-D6B8-CF42-9834-DA2A8857BD70}" dt="2022-05-19T09:49:04.139" v="241" actId="20577"/>
          <ac:spMkLst>
            <pc:docMk/>
            <pc:sldMk cId="3823892125" sldId="2145709200"/>
            <ac:spMk id="28" creationId="{1707D6E5-FBC2-4348-8CCB-0F1B8C5B4AC0}"/>
          </ac:spMkLst>
        </pc:spChg>
        <pc:spChg chg="del">
          <ac:chgData name="Celine Rose Nicole Choukair" userId="99fb0bcb-3137-4cd1-9e2c-4b0bf91b42b5" providerId="ADAL" clId="{16AD05A4-D6B8-CF42-9834-DA2A8857BD70}" dt="2022-05-22T22:13:38.389" v="4925" actId="478"/>
          <ac:spMkLst>
            <pc:docMk/>
            <pc:sldMk cId="3823892125" sldId="2145709200"/>
            <ac:spMk id="29" creationId="{B2D2609A-5951-3C4F-9E53-4B325EA41E04}"/>
          </ac:spMkLst>
        </pc:spChg>
        <pc:spChg chg="mod">
          <ac:chgData name="Celine Rose Nicole Choukair" userId="99fb0bcb-3137-4cd1-9e2c-4b0bf91b42b5" providerId="ADAL" clId="{16AD05A4-D6B8-CF42-9834-DA2A8857BD70}" dt="2022-05-19T09:48:55.347" v="223" actId="20577"/>
          <ac:spMkLst>
            <pc:docMk/>
            <pc:sldMk cId="3823892125" sldId="2145709200"/>
            <ac:spMk id="30" creationId="{37A31358-C64D-BA4B-B76C-08DCCEFFF2BF}"/>
          </ac:spMkLst>
        </pc:spChg>
        <pc:spChg chg="mod">
          <ac:chgData name="Celine Rose Nicole Choukair" userId="99fb0bcb-3137-4cd1-9e2c-4b0bf91b42b5" providerId="ADAL" clId="{16AD05A4-D6B8-CF42-9834-DA2A8857BD70}" dt="2022-05-19T10:16:18.189" v="1131"/>
          <ac:spMkLst>
            <pc:docMk/>
            <pc:sldMk cId="3823892125" sldId="2145709200"/>
            <ac:spMk id="32" creationId="{55CEA5A8-0C22-17E1-00F4-BAAE9767D560}"/>
          </ac:spMkLst>
        </pc:spChg>
        <pc:spChg chg="mod">
          <ac:chgData name="Celine Rose Nicole Choukair" userId="99fb0bcb-3137-4cd1-9e2c-4b0bf91b42b5" providerId="ADAL" clId="{16AD05A4-D6B8-CF42-9834-DA2A8857BD70}" dt="2022-05-19T10:16:18.189" v="1131"/>
          <ac:spMkLst>
            <pc:docMk/>
            <pc:sldMk cId="3823892125" sldId="2145709200"/>
            <ac:spMk id="33" creationId="{7805BE16-99A7-5861-8EAC-6DF69EA5132C}"/>
          </ac:spMkLst>
        </pc:spChg>
        <pc:spChg chg="add del mod">
          <ac:chgData name="Celine Rose Nicole Choukair" userId="99fb0bcb-3137-4cd1-9e2c-4b0bf91b42b5" providerId="ADAL" clId="{16AD05A4-D6B8-CF42-9834-DA2A8857BD70}" dt="2022-05-19T10:17:33.237" v="1140" actId="478"/>
          <ac:spMkLst>
            <pc:docMk/>
            <pc:sldMk cId="3823892125" sldId="2145709200"/>
            <ac:spMk id="34" creationId="{6BE6205A-70AB-D3BE-7124-5B38F73DA30C}"/>
          </ac:spMkLst>
        </pc:spChg>
        <pc:spChg chg="mod">
          <ac:chgData name="Celine Rose Nicole Choukair" userId="99fb0bcb-3137-4cd1-9e2c-4b0bf91b42b5" providerId="ADAL" clId="{16AD05A4-D6B8-CF42-9834-DA2A8857BD70}" dt="2022-05-19T09:47:31.807" v="109"/>
          <ac:spMkLst>
            <pc:docMk/>
            <pc:sldMk cId="3823892125" sldId="2145709200"/>
            <ac:spMk id="42" creationId="{40F01A75-2D26-7F8F-D310-60883EFDE61B}"/>
          </ac:spMkLst>
        </pc:spChg>
        <pc:spChg chg="mod">
          <ac:chgData name="Celine Rose Nicole Choukair" userId="99fb0bcb-3137-4cd1-9e2c-4b0bf91b42b5" providerId="ADAL" clId="{16AD05A4-D6B8-CF42-9834-DA2A8857BD70}" dt="2022-05-19T09:47:31.807" v="109"/>
          <ac:spMkLst>
            <pc:docMk/>
            <pc:sldMk cId="3823892125" sldId="2145709200"/>
            <ac:spMk id="43" creationId="{DE9A6FB6-D5A0-32FF-678E-C4E5A8743A16}"/>
          </ac:spMkLst>
        </pc:spChg>
        <pc:spChg chg="mod">
          <ac:chgData name="Celine Rose Nicole Choukair" userId="99fb0bcb-3137-4cd1-9e2c-4b0bf91b42b5" providerId="ADAL" clId="{16AD05A4-D6B8-CF42-9834-DA2A8857BD70}" dt="2022-05-19T09:47:31.807" v="109"/>
          <ac:spMkLst>
            <pc:docMk/>
            <pc:sldMk cId="3823892125" sldId="2145709200"/>
            <ac:spMk id="44" creationId="{06C1EF8E-2546-172B-C46F-3DCF2C363D1E}"/>
          </ac:spMkLst>
        </pc:spChg>
        <pc:spChg chg="mod">
          <ac:chgData name="Celine Rose Nicole Choukair" userId="99fb0bcb-3137-4cd1-9e2c-4b0bf91b42b5" providerId="ADAL" clId="{16AD05A4-D6B8-CF42-9834-DA2A8857BD70}" dt="2022-05-19T09:47:31.807" v="109"/>
          <ac:spMkLst>
            <pc:docMk/>
            <pc:sldMk cId="3823892125" sldId="2145709200"/>
            <ac:spMk id="45" creationId="{198E16A4-CC61-BB4E-F24C-234288FE3B5B}"/>
          </ac:spMkLst>
        </pc:spChg>
        <pc:spChg chg="mod">
          <ac:chgData name="Celine Rose Nicole Choukair" userId="99fb0bcb-3137-4cd1-9e2c-4b0bf91b42b5" providerId="ADAL" clId="{16AD05A4-D6B8-CF42-9834-DA2A8857BD70}" dt="2022-05-19T09:47:31.807" v="109"/>
          <ac:spMkLst>
            <pc:docMk/>
            <pc:sldMk cId="3823892125" sldId="2145709200"/>
            <ac:spMk id="46" creationId="{3917C421-8442-77B5-5556-16E487BA6208}"/>
          </ac:spMkLst>
        </pc:spChg>
        <pc:spChg chg="mod">
          <ac:chgData name="Celine Rose Nicole Choukair" userId="99fb0bcb-3137-4cd1-9e2c-4b0bf91b42b5" providerId="ADAL" clId="{16AD05A4-D6B8-CF42-9834-DA2A8857BD70}" dt="2022-05-19T09:47:31.807" v="109"/>
          <ac:spMkLst>
            <pc:docMk/>
            <pc:sldMk cId="3823892125" sldId="2145709200"/>
            <ac:spMk id="47" creationId="{44C5C444-D76F-369E-E410-2CCAAEFC96A0}"/>
          </ac:spMkLst>
        </pc:spChg>
        <pc:spChg chg="add mod">
          <ac:chgData name="Celine Rose Nicole Choukair" userId="99fb0bcb-3137-4cd1-9e2c-4b0bf91b42b5" providerId="ADAL" clId="{16AD05A4-D6B8-CF42-9834-DA2A8857BD70}" dt="2022-05-19T10:13:56.689" v="1106" actId="14100"/>
          <ac:spMkLst>
            <pc:docMk/>
            <pc:sldMk cId="3823892125" sldId="2145709200"/>
            <ac:spMk id="51" creationId="{55A9E7CE-A001-6069-9158-DFBCA51D9B8F}"/>
          </ac:spMkLst>
        </pc:spChg>
        <pc:spChg chg="add mod">
          <ac:chgData name="Celine Rose Nicole Choukair" userId="99fb0bcb-3137-4cd1-9e2c-4b0bf91b42b5" providerId="ADAL" clId="{16AD05A4-D6B8-CF42-9834-DA2A8857BD70}" dt="2022-05-19T10:16:37.281" v="1132" actId="208"/>
          <ac:spMkLst>
            <pc:docMk/>
            <pc:sldMk cId="3823892125" sldId="2145709200"/>
            <ac:spMk id="52" creationId="{71DECA83-A4F7-1C0D-B229-31D1CB1BAA21}"/>
          </ac:spMkLst>
        </pc:spChg>
        <pc:spChg chg="add mod">
          <ac:chgData name="Celine Rose Nicole Choukair" userId="99fb0bcb-3137-4cd1-9e2c-4b0bf91b42b5" providerId="ADAL" clId="{16AD05A4-D6B8-CF42-9834-DA2A8857BD70}" dt="2022-05-19T10:16:18.189" v="1131"/>
          <ac:spMkLst>
            <pc:docMk/>
            <pc:sldMk cId="3823892125" sldId="2145709200"/>
            <ac:spMk id="53" creationId="{13BAE2E7-B03F-F8DF-23DF-D73DA4821AA2}"/>
          </ac:spMkLst>
        </pc:spChg>
        <pc:grpChg chg="add del mod">
          <ac:chgData name="Celine Rose Nicole Choukair" userId="99fb0bcb-3137-4cd1-9e2c-4b0bf91b42b5" providerId="ADAL" clId="{16AD05A4-D6B8-CF42-9834-DA2A8857BD70}" dt="2022-05-19T10:08:11.931" v="1019" actId="478"/>
          <ac:grpSpMkLst>
            <pc:docMk/>
            <pc:sldMk cId="3823892125" sldId="2145709200"/>
            <ac:grpSpMk id="12" creationId="{A69322F0-03F3-BEF2-C88F-694D011C2DE4}"/>
          </ac:grpSpMkLst>
        </pc:grpChg>
        <pc:grpChg chg="add del mod">
          <ac:chgData name="Celine Rose Nicole Choukair" userId="99fb0bcb-3137-4cd1-9e2c-4b0bf91b42b5" providerId="ADAL" clId="{16AD05A4-D6B8-CF42-9834-DA2A8857BD70}" dt="2022-05-19T10:08:08.925" v="1018" actId="478"/>
          <ac:grpSpMkLst>
            <pc:docMk/>
            <pc:sldMk cId="3823892125" sldId="2145709200"/>
            <ac:grpSpMk id="21" creationId="{C43121AF-3B5C-3617-BAED-0C8BEA4DE704}"/>
          </ac:grpSpMkLst>
        </pc:grpChg>
        <pc:grpChg chg="add mod">
          <ac:chgData name="Celine Rose Nicole Choukair" userId="99fb0bcb-3137-4cd1-9e2c-4b0bf91b42b5" providerId="ADAL" clId="{16AD05A4-D6B8-CF42-9834-DA2A8857BD70}" dt="2022-05-19T10:16:18.189" v="1131"/>
          <ac:grpSpMkLst>
            <pc:docMk/>
            <pc:sldMk cId="3823892125" sldId="2145709200"/>
            <ac:grpSpMk id="31" creationId="{9C8EAC05-630F-607B-6312-99793BF75188}"/>
          </ac:grpSpMkLst>
        </pc:grpChg>
        <pc:grpChg chg="add del mod">
          <ac:chgData name="Celine Rose Nicole Choukair" userId="99fb0bcb-3137-4cd1-9e2c-4b0bf91b42b5" providerId="ADAL" clId="{16AD05A4-D6B8-CF42-9834-DA2A8857BD70}" dt="2022-05-19T09:47:40.812" v="111" actId="478"/>
          <ac:grpSpMkLst>
            <pc:docMk/>
            <pc:sldMk cId="3823892125" sldId="2145709200"/>
            <ac:grpSpMk id="35" creationId="{0800C646-3023-5C64-B5E0-BD41052F706D}"/>
          </ac:grpSpMkLst>
        </pc:grpChg>
        <pc:grpChg chg="add mod">
          <ac:chgData name="Celine Rose Nicole Choukair" userId="99fb0bcb-3137-4cd1-9e2c-4b0bf91b42b5" providerId="ADAL" clId="{16AD05A4-D6B8-CF42-9834-DA2A8857BD70}" dt="2022-05-19T10:16:42.979" v="1137" actId="1038"/>
          <ac:grpSpMkLst>
            <pc:docMk/>
            <pc:sldMk cId="3823892125" sldId="2145709200"/>
            <ac:grpSpMk id="54" creationId="{DD93A340-BBB1-0A31-3CAE-C3A0B9CAE62E}"/>
          </ac:grpSpMkLst>
        </pc:grpChg>
        <pc:picChg chg="mod">
          <ac:chgData name="Celine Rose Nicole Choukair" userId="99fb0bcb-3137-4cd1-9e2c-4b0bf91b42b5" providerId="ADAL" clId="{16AD05A4-D6B8-CF42-9834-DA2A8857BD70}" dt="2022-05-19T09:47:31.807" v="109"/>
          <ac:picMkLst>
            <pc:docMk/>
            <pc:sldMk cId="3823892125" sldId="2145709200"/>
            <ac:picMk id="36" creationId="{E09E473B-BF9E-0C19-D14C-37C24831D0B7}"/>
          </ac:picMkLst>
        </pc:picChg>
        <pc:picChg chg="mod">
          <ac:chgData name="Celine Rose Nicole Choukair" userId="99fb0bcb-3137-4cd1-9e2c-4b0bf91b42b5" providerId="ADAL" clId="{16AD05A4-D6B8-CF42-9834-DA2A8857BD70}" dt="2022-05-19T09:47:31.807" v="109"/>
          <ac:picMkLst>
            <pc:docMk/>
            <pc:sldMk cId="3823892125" sldId="2145709200"/>
            <ac:picMk id="37" creationId="{8F5B39ED-1F4F-9CCF-DA1B-601844E44AD2}"/>
          </ac:picMkLst>
        </pc:picChg>
        <pc:picChg chg="mod">
          <ac:chgData name="Celine Rose Nicole Choukair" userId="99fb0bcb-3137-4cd1-9e2c-4b0bf91b42b5" providerId="ADAL" clId="{16AD05A4-D6B8-CF42-9834-DA2A8857BD70}" dt="2022-05-19T09:47:31.807" v="109"/>
          <ac:picMkLst>
            <pc:docMk/>
            <pc:sldMk cId="3823892125" sldId="2145709200"/>
            <ac:picMk id="38" creationId="{5C549A7B-2EFB-58AF-6330-7E93BCB0BE94}"/>
          </ac:picMkLst>
        </pc:picChg>
        <pc:picChg chg="mod">
          <ac:chgData name="Celine Rose Nicole Choukair" userId="99fb0bcb-3137-4cd1-9e2c-4b0bf91b42b5" providerId="ADAL" clId="{16AD05A4-D6B8-CF42-9834-DA2A8857BD70}" dt="2022-05-19T09:47:31.807" v="109"/>
          <ac:picMkLst>
            <pc:docMk/>
            <pc:sldMk cId="3823892125" sldId="2145709200"/>
            <ac:picMk id="39" creationId="{B027CCE1-0BA4-0798-33E7-84D6235BB9F8}"/>
          </ac:picMkLst>
        </pc:picChg>
        <pc:picChg chg="mod">
          <ac:chgData name="Celine Rose Nicole Choukair" userId="99fb0bcb-3137-4cd1-9e2c-4b0bf91b42b5" providerId="ADAL" clId="{16AD05A4-D6B8-CF42-9834-DA2A8857BD70}" dt="2022-05-19T09:47:31.807" v="109"/>
          <ac:picMkLst>
            <pc:docMk/>
            <pc:sldMk cId="3823892125" sldId="2145709200"/>
            <ac:picMk id="40" creationId="{3951FE47-56F8-393D-8744-16B7FADC57B8}"/>
          </ac:picMkLst>
        </pc:picChg>
        <pc:picChg chg="mod">
          <ac:chgData name="Celine Rose Nicole Choukair" userId="99fb0bcb-3137-4cd1-9e2c-4b0bf91b42b5" providerId="ADAL" clId="{16AD05A4-D6B8-CF42-9834-DA2A8857BD70}" dt="2022-05-19T09:47:31.807" v="109"/>
          <ac:picMkLst>
            <pc:docMk/>
            <pc:sldMk cId="3823892125" sldId="2145709200"/>
            <ac:picMk id="41" creationId="{5283AFC9-0C4F-5D3D-F70C-98A441398CAE}"/>
          </ac:picMkLst>
        </pc:picChg>
        <pc:picChg chg="add mod">
          <ac:chgData name="Celine Rose Nicole Choukair" userId="99fb0bcb-3137-4cd1-9e2c-4b0bf91b42b5" providerId="ADAL" clId="{16AD05A4-D6B8-CF42-9834-DA2A8857BD70}" dt="2022-05-19T10:09:19.135" v="1061"/>
          <ac:picMkLst>
            <pc:docMk/>
            <pc:sldMk cId="3823892125" sldId="2145709200"/>
            <ac:picMk id="48" creationId="{2619CF1A-AEB0-A186-FEC5-754FF551D38A}"/>
          </ac:picMkLst>
        </pc:picChg>
        <pc:picChg chg="add mod">
          <ac:chgData name="Celine Rose Nicole Choukair" userId="99fb0bcb-3137-4cd1-9e2c-4b0bf91b42b5" providerId="ADAL" clId="{16AD05A4-D6B8-CF42-9834-DA2A8857BD70}" dt="2022-05-19T10:09:21.252" v="1063"/>
          <ac:picMkLst>
            <pc:docMk/>
            <pc:sldMk cId="3823892125" sldId="2145709200"/>
            <ac:picMk id="49" creationId="{94FC813D-BDF1-F91B-5205-2C6666AB4A7E}"/>
          </ac:picMkLst>
        </pc:picChg>
        <pc:picChg chg="add mod">
          <ac:chgData name="Celine Rose Nicole Choukair" userId="99fb0bcb-3137-4cd1-9e2c-4b0bf91b42b5" providerId="ADAL" clId="{16AD05A4-D6B8-CF42-9834-DA2A8857BD70}" dt="2022-05-19T10:09:17.031" v="1059"/>
          <ac:picMkLst>
            <pc:docMk/>
            <pc:sldMk cId="3823892125" sldId="2145709200"/>
            <ac:picMk id="50" creationId="{491AE49D-1AC8-4F71-5266-A4434404FB44}"/>
          </ac:picMkLst>
        </pc:picChg>
      </pc:sldChg>
      <pc:sldChg chg="addSp delSp modSp mod">
        <pc:chgData name="Celine Rose Nicole Choukair" userId="99fb0bcb-3137-4cd1-9e2c-4b0bf91b42b5" providerId="ADAL" clId="{16AD05A4-D6B8-CF42-9834-DA2A8857BD70}" dt="2022-05-22T22:13:48.948" v="4928"/>
        <pc:sldMkLst>
          <pc:docMk/>
          <pc:sldMk cId="775632621" sldId="2145709201"/>
        </pc:sldMkLst>
        <pc:spChg chg="add mod">
          <ac:chgData name="Celine Rose Nicole Choukair" userId="99fb0bcb-3137-4cd1-9e2c-4b0bf91b42b5" providerId="ADAL" clId="{16AD05A4-D6B8-CF42-9834-DA2A8857BD70}" dt="2022-05-22T22:13:48.948" v="4928"/>
          <ac:spMkLst>
            <pc:docMk/>
            <pc:sldMk cId="775632621" sldId="2145709201"/>
            <ac:spMk id="15" creationId="{AF39AA7B-92FF-B76F-7D38-990AC7E6BDDC}"/>
          </ac:spMkLst>
        </pc:spChg>
        <pc:spChg chg="del">
          <ac:chgData name="Celine Rose Nicole Choukair" userId="99fb0bcb-3137-4cd1-9e2c-4b0bf91b42b5" providerId="ADAL" clId="{16AD05A4-D6B8-CF42-9834-DA2A8857BD70}" dt="2022-05-22T22:13:48.293" v="4927" actId="478"/>
          <ac:spMkLst>
            <pc:docMk/>
            <pc:sldMk cId="775632621" sldId="2145709201"/>
            <ac:spMk id="29" creationId="{B2D2609A-5951-3C4F-9E53-4B325EA41E04}"/>
          </ac:spMkLst>
        </pc:spChg>
      </pc:sldChg>
      <pc:sldChg chg="addSp delSp modSp mod">
        <pc:chgData name="Celine Rose Nicole Choukair" userId="99fb0bcb-3137-4cd1-9e2c-4b0bf91b42b5" providerId="ADAL" clId="{16AD05A4-D6B8-CF42-9834-DA2A8857BD70}" dt="2022-05-22T22:14:07.602" v="4936"/>
        <pc:sldMkLst>
          <pc:docMk/>
          <pc:sldMk cId="1980164139" sldId="2145709202"/>
        </pc:sldMkLst>
        <pc:spChg chg="add mod">
          <ac:chgData name="Celine Rose Nicole Choukair" userId="99fb0bcb-3137-4cd1-9e2c-4b0bf91b42b5" providerId="ADAL" clId="{16AD05A4-D6B8-CF42-9834-DA2A8857BD70}" dt="2022-05-22T22:14:07.602" v="4936"/>
          <ac:spMkLst>
            <pc:docMk/>
            <pc:sldMk cId="1980164139" sldId="2145709202"/>
            <ac:spMk id="14" creationId="{EE895664-C78D-6A31-939A-A7D9E33992E8}"/>
          </ac:spMkLst>
        </pc:spChg>
        <pc:spChg chg="del">
          <ac:chgData name="Celine Rose Nicole Choukair" userId="99fb0bcb-3137-4cd1-9e2c-4b0bf91b42b5" providerId="ADAL" clId="{16AD05A4-D6B8-CF42-9834-DA2A8857BD70}" dt="2022-05-22T22:14:07.097" v="4935" actId="478"/>
          <ac:spMkLst>
            <pc:docMk/>
            <pc:sldMk cId="1980164139" sldId="2145709202"/>
            <ac:spMk id="29" creationId="{B2D2609A-5951-3C4F-9E53-4B325EA41E04}"/>
          </ac:spMkLst>
        </pc:spChg>
      </pc:sldChg>
      <pc:sldChg chg="addSp modSp new mod ord modAnim">
        <pc:chgData name="Celine Rose Nicole Choukair" userId="99fb0bcb-3137-4cd1-9e2c-4b0bf91b42b5" providerId="ADAL" clId="{16AD05A4-D6B8-CF42-9834-DA2A8857BD70}" dt="2022-05-19T19:31:52.525" v="2994"/>
        <pc:sldMkLst>
          <pc:docMk/>
          <pc:sldMk cId="1486030911" sldId="2145709203"/>
        </pc:sldMkLst>
        <pc:spChg chg="add mod">
          <ac:chgData name="Celine Rose Nicole Choukair" userId="99fb0bcb-3137-4cd1-9e2c-4b0bf91b42b5" providerId="ADAL" clId="{16AD05A4-D6B8-CF42-9834-DA2A8857BD70}" dt="2022-05-18T17:12:59.068" v="17" actId="207"/>
          <ac:spMkLst>
            <pc:docMk/>
            <pc:sldMk cId="1486030911" sldId="2145709203"/>
            <ac:spMk id="7" creationId="{CAEE5804-3C03-7658-A726-FD73F090A63A}"/>
          </ac:spMkLst>
        </pc:spChg>
        <pc:spChg chg="add mod">
          <ac:chgData name="Celine Rose Nicole Choukair" userId="99fb0bcb-3137-4cd1-9e2c-4b0bf91b42b5" providerId="ADAL" clId="{16AD05A4-D6B8-CF42-9834-DA2A8857BD70}" dt="2022-05-18T17:15:06.561" v="105" actId="164"/>
          <ac:spMkLst>
            <pc:docMk/>
            <pc:sldMk cId="1486030911" sldId="2145709203"/>
            <ac:spMk id="8" creationId="{7653FFB1-9243-E780-5C91-0916AD0B1618}"/>
          </ac:spMkLst>
        </pc:spChg>
        <pc:spChg chg="add mod">
          <ac:chgData name="Celine Rose Nicole Choukair" userId="99fb0bcb-3137-4cd1-9e2c-4b0bf91b42b5" providerId="ADAL" clId="{16AD05A4-D6B8-CF42-9834-DA2A8857BD70}" dt="2022-05-18T17:15:06.561" v="105" actId="164"/>
          <ac:spMkLst>
            <pc:docMk/>
            <pc:sldMk cId="1486030911" sldId="2145709203"/>
            <ac:spMk id="9" creationId="{CE7F8D3F-C635-E59C-25DB-D00F9097F0B8}"/>
          </ac:spMkLst>
        </pc:spChg>
        <pc:grpChg chg="add mod">
          <ac:chgData name="Celine Rose Nicole Choukair" userId="99fb0bcb-3137-4cd1-9e2c-4b0bf91b42b5" providerId="ADAL" clId="{16AD05A4-D6B8-CF42-9834-DA2A8857BD70}" dt="2022-05-18T17:15:06.561" v="105" actId="164"/>
          <ac:grpSpMkLst>
            <pc:docMk/>
            <pc:sldMk cId="1486030911" sldId="2145709203"/>
            <ac:grpSpMk id="10" creationId="{5169705F-C06A-793C-5E84-654F09AA83E3}"/>
          </ac:grpSpMkLst>
        </pc:grpChg>
        <pc:picChg chg="add mod">
          <ac:chgData name="Celine Rose Nicole Choukair" userId="99fb0bcb-3137-4cd1-9e2c-4b0bf91b42b5" providerId="ADAL" clId="{16AD05A4-D6B8-CF42-9834-DA2A8857BD70}" dt="2022-05-18T17:14:31.594" v="84" actId="1076"/>
          <ac:picMkLst>
            <pc:docMk/>
            <pc:sldMk cId="1486030911" sldId="2145709203"/>
            <ac:picMk id="1026" creationId="{B9BF64B2-5789-8EB2-A8BD-4E71A247C8DB}"/>
          </ac:picMkLst>
        </pc:picChg>
      </pc:sldChg>
      <pc:sldChg chg="addSp delSp modSp add mod">
        <pc:chgData name="Celine Rose Nicole Choukair" userId="99fb0bcb-3137-4cd1-9e2c-4b0bf91b42b5" providerId="ADAL" clId="{16AD05A4-D6B8-CF42-9834-DA2A8857BD70}" dt="2022-05-22T22:21:23.346" v="5095" actId="20577"/>
        <pc:sldMkLst>
          <pc:docMk/>
          <pc:sldMk cId="1207596309" sldId="2145709204"/>
        </pc:sldMkLst>
        <pc:spChg chg="add mod">
          <ac:chgData name="Celine Rose Nicole Choukair" userId="99fb0bcb-3137-4cd1-9e2c-4b0bf91b42b5" providerId="ADAL" clId="{16AD05A4-D6B8-CF42-9834-DA2A8857BD70}" dt="2022-05-19T10:35:36.087" v="1886" actId="2085"/>
          <ac:spMkLst>
            <pc:docMk/>
            <pc:sldMk cId="1207596309" sldId="2145709204"/>
            <ac:spMk id="2" creationId="{A7E166C5-5105-FE63-6B33-8CD8F85B686E}"/>
          </ac:spMkLst>
        </pc:spChg>
        <pc:spChg chg="add mod">
          <ac:chgData name="Celine Rose Nicole Choukair" userId="99fb0bcb-3137-4cd1-9e2c-4b0bf91b42b5" providerId="ADAL" clId="{16AD05A4-D6B8-CF42-9834-DA2A8857BD70}" dt="2022-05-19T15:45:52.212" v="2492"/>
          <ac:spMkLst>
            <pc:docMk/>
            <pc:sldMk cId="1207596309" sldId="2145709204"/>
            <ac:spMk id="19" creationId="{33B366C8-9914-591A-DB7A-B565EEAE88BF}"/>
          </ac:spMkLst>
        </pc:spChg>
        <pc:spChg chg="add mod">
          <ac:chgData name="Celine Rose Nicole Choukair" userId="99fb0bcb-3137-4cd1-9e2c-4b0bf91b42b5" providerId="ADAL" clId="{16AD05A4-D6B8-CF42-9834-DA2A8857BD70}" dt="2022-05-22T22:07:23.286" v="4677" actId="207"/>
          <ac:spMkLst>
            <pc:docMk/>
            <pc:sldMk cId="1207596309" sldId="2145709204"/>
            <ac:spMk id="20" creationId="{2AFC860E-CCC7-D477-44A9-DC1CD7C3BE42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21" creationId="{657147EA-9008-4540-81D8-E4F1917B7FAD}"/>
          </ac:spMkLst>
        </pc:spChg>
        <pc:spChg chg="add mod">
          <ac:chgData name="Celine Rose Nicole Choukair" userId="99fb0bcb-3137-4cd1-9e2c-4b0bf91b42b5" providerId="ADAL" clId="{16AD05A4-D6B8-CF42-9834-DA2A8857BD70}" dt="2022-05-19T10:35:51.162" v="1890" actId="2085"/>
          <ac:spMkLst>
            <pc:docMk/>
            <pc:sldMk cId="1207596309" sldId="2145709204"/>
            <ac:spMk id="23" creationId="{DA27877F-5F6B-3657-FF65-7E9587FEF5EE}"/>
          </ac:spMkLst>
        </pc:spChg>
        <pc:spChg chg="add del mod">
          <ac:chgData name="Celine Rose Nicole Choukair" userId="99fb0bcb-3137-4cd1-9e2c-4b0bf91b42b5" providerId="ADAL" clId="{16AD05A4-D6B8-CF42-9834-DA2A8857BD70}" dt="2022-05-19T10:34:56.093" v="1744" actId="478"/>
          <ac:spMkLst>
            <pc:docMk/>
            <pc:sldMk cId="1207596309" sldId="2145709204"/>
            <ac:spMk id="24" creationId="{DC231FDF-C6F5-C4A7-7C57-7EA98B8F4418}"/>
          </ac:spMkLst>
        </pc:spChg>
        <pc:spChg chg="add mod">
          <ac:chgData name="Celine Rose Nicole Choukair" userId="99fb0bcb-3137-4cd1-9e2c-4b0bf91b42b5" providerId="ADAL" clId="{16AD05A4-D6B8-CF42-9834-DA2A8857BD70}" dt="2022-05-22T22:07:17.510" v="4676" actId="207"/>
          <ac:spMkLst>
            <pc:docMk/>
            <pc:sldMk cId="1207596309" sldId="2145709204"/>
            <ac:spMk id="25" creationId="{AEC55CFA-EE37-FF6A-D7C5-62672A249FC7}"/>
          </ac:spMkLst>
        </pc:spChg>
        <pc:spChg chg="add mod">
          <ac:chgData name="Celine Rose Nicole Choukair" userId="99fb0bcb-3137-4cd1-9e2c-4b0bf91b42b5" providerId="ADAL" clId="{16AD05A4-D6B8-CF42-9834-DA2A8857BD70}" dt="2022-05-19T10:51:30.594" v="2286" actId="1037"/>
          <ac:spMkLst>
            <pc:docMk/>
            <pc:sldMk cId="1207596309" sldId="2145709204"/>
            <ac:spMk id="26" creationId="{9A85ADF9-8D42-BBCB-18EE-C8B1BAEEDE98}"/>
          </ac:spMkLst>
        </pc:spChg>
        <pc:spChg chg="add mod">
          <ac:chgData name="Celine Rose Nicole Choukair" userId="99fb0bcb-3137-4cd1-9e2c-4b0bf91b42b5" providerId="ADAL" clId="{16AD05A4-D6B8-CF42-9834-DA2A8857BD70}" dt="2022-05-19T10:36:15.941" v="1919" actId="1038"/>
          <ac:spMkLst>
            <pc:docMk/>
            <pc:sldMk cId="1207596309" sldId="2145709204"/>
            <ac:spMk id="28" creationId="{7826CEF0-949E-BE12-2635-CBD5C089A002}"/>
          </ac:spMkLst>
        </pc:spChg>
        <pc:spChg chg="add mod">
          <ac:chgData name="Celine Rose Nicole Choukair" userId="99fb0bcb-3137-4cd1-9e2c-4b0bf91b42b5" providerId="ADAL" clId="{16AD05A4-D6B8-CF42-9834-DA2A8857BD70}" dt="2022-05-19T10:51:23.153" v="2275" actId="1037"/>
          <ac:spMkLst>
            <pc:docMk/>
            <pc:sldMk cId="1207596309" sldId="2145709204"/>
            <ac:spMk id="29" creationId="{CF1AEA95-9F3A-AAF7-FD86-79D4D9FAA42A}"/>
          </ac:spMkLst>
        </pc:spChg>
        <pc:spChg chg="add del mod">
          <ac:chgData name="Celine Rose Nicole Choukair" userId="99fb0bcb-3137-4cd1-9e2c-4b0bf91b42b5" providerId="ADAL" clId="{16AD05A4-D6B8-CF42-9834-DA2A8857BD70}" dt="2022-05-19T10:35:41.764" v="1888" actId="478"/>
          <ac:spMkLst>
            <pc:docMk/>
            <pc:sldMk cId="1207596309" sldId="2145709204"/>
            <ac:spMk id="30" creationId="{08D5359C-5960-3AD0-A1C1-F926BE69993D}"/>
          </ac:spMkLst>
        </pc:spChg>
        <pc:spChg chg="add mod">
          <ac:chgData name="Celine Rose Nicole Choukair" userId="99fb0bcb-3137-4cd1-9e2c-4b0bf91b42b5" providerId="ADAL" clId="{16AD05A4-D6B8-CF42-9834-DA2A8857BD70}" dt="2022-05-19T10:52:50.994" v="2296"/>
          <ac:spMkLst>
            <pc:docMk/>
            <pc:sldMk cId="1207596309" sldId="2145709204"/>
            <ac:spMk id="31" creationId="{8FFBC650-00BF-3B51-CF0D-5D4F22B4AB85}"/>
          </ac:spMkLst>
        </pc:spChg>
        <pc:spChg chg="add del mod">
          <ac:chgData name="Celine Rose Nicole Choukair" userId="99fb0bcb-3137-4cd1-9e2c-4b0bf91b42b5" providerId="ADAL" clId="{16AD05A4-D6B8-CF42-9834-DA2A8857BD70}" dt="2022-05-19T10:35:40.194" v="1887" actId="478"/>
          <ac:spMkLst>
            <pc:docMk/>
            <pc:sldMk cId="1207596309" sldId="2145709204"/>
            <ac:spMk id="32" creationId="{F86B1E22-0704-11FA-8D3D-F88C51E83ADA}"/>
          </ac:spMkLst>
        </pc:spChg>
        <pc:spChg chg="mod">
          <ac:chgData name="Celine Rose Nicole Choukair" userId="99fb0bcb-3137-4cd1-9e2c-4b0bf91b42b5" providerId="ADAL" clId="{16AD05A4-D6B8-CF42-9834-DA2A8857BD70}" dt="2022-05-19T20:28:42.175" v="3023" actId="1076"/>
          <ac:spMkLst>
            <pc:docMk/>
            <pc:sldMk cId="1207596309" sldId="2145709204"/>
            <ac:spMk id="33" creationId="{DD27E7C3-CD18-C940-8537-463126100B2B}"/>
          </ac:spMkLst>
        </pc:spChg>
        <pc:spChg chg="add mod">
          <ac:chgData name="Celine Rose Nicole Choukair" userId="99fb0bcb-3137-4cd1-9e2c-4b0bf91b42b5" providerId="ADAL" clId="{16AD05A4-D6B8-CF42-9834-DA2A8857BD70}" dt="2022-05-19T10:51:25.878" v="2277"/>
          <ac:spMkLst>
            <pc:docMk/>
            <pc:sldMk cId="1207596309" sldId="2145709204"/>
            <ac:spMk id="34" creationId="{93A890BB-78CB-DB2E-83F3-BA2257F628A1}"/>
          </ac:spMkLst>
        </pc:spChg>
        <pc:spChg chg="add mod">
          <ac:chgData name="Celine Rose Nicole Choukair" userId="99fb0bcb-3137-4cd1-9e2c-4b0bf91b42b5" providerId="ADAL" clId="{16AD05A4-D6B8-CF42-9834-DA2A8857BD70}" dt="2022-05-19T10:44:52.535" v="2105" actId="20577"/>
          <ac:spMkLst>
            <pc:docMk/>
            <pc:sldMk cId="1207596309" sldId="2145709204"/>
            <ac:spMk id="35" creationId="{AEDD8B92-4A62-7216-BDC0-161375C43618}"/>
          </ac:spMkLst>
        </pc:spChg>
        <pc:spChg chg="add mod">
          <ac:chgData name="Celine Rose Nicole Choukair" userId="99fb0bcb-3137-4cd1-9e2c-4b0bf91b42b5" providerId="ADAL" clId="{16AD05A4-D6B8-CF42-9834-DA2A8857BD70}" dt="2022-05-19T10:52:39.649" v="2291" actId="20577"/>
          <ac:spMkLst>
            <pc:docMk/>
            <pc:sldMk cId="1207596309" sldId="2145709204"/>
            <ac:spMk id="36" creationId="{4A61F5AC-6D0A-12B3-5C0B-9BACC516E501}"/>
          </ac:spMkLst>
        </pc:spChg>
        <pc:spChg chg="add mod">
          <ac:chgData name="Celine Rose Nicole Choukair" userId="99fb0bcb-3137-4cd1-9e2c-4b0bf91b42b5" providerId="ADAL" clId="{16AD05A4-D6B8-CF42-9834-DA2A8857BD70}" dt="2022-05-22T22:21:23.346" v="5095" actId="20577"/>
          <ac:spMkLst>
            <pc:docMk/>
            <pc:sldMk cId="1207596309" sldId="2145709204"/>
            <ac:spMk id="37" creationId="{3DDE53F1-5BBA-53D7-9DB2-7FC47B0DCFC9}"/>
          </ac:spMkLst>
        </pc:spChg>
        <pc:spChg chg="add del mod">
          <ac:chgData name="Celine Rose Nicole Choukair" userId="99fb0bcb-3137-4cd1-9e2c-4b0bf91b42b5" providerId="ADAL" clId="{16AD05A4-D6B8-CF42-9834-DA2A8857BD70}" dt="2022-05-19T10:36:35.041" v="1934" actId="478"/>
          <ac:spMkLst>
            <pc:docMk/>
            <pc:sldMk cId="1207596309" sldId="2145709204"/>
            <ac:spMk id="38" creationId="{17EF764F-2931-7825-97D5-78680C28B354}"/>
          </ac:spMkLst>
        </pc:spChg>
        <pc:spChg chg="add mod">
          <ac:chgData name="Celine Rose Nicole Choukair" userId="99fb0bcb-3137-4cd1-9e2c-4b0bf91b42b5" providerId="ADAL" clId="{16AD05A4-D6B8-CF42-9834-DA2A8857BD70}" dt="2022-05-19T15:46:23.073" v="2496" actId="20577"/>
          <ac:spMkLst>
            <pc:docMk/>
            <pc:sldMk cId="1207596309" sldId="2145709204"/>
            <ac:spMk id="39" creationId="{6A4C8B54-EAEA-EC55-FCCA-FDAB3CABDF24}"/>
          </ac:spMkLst>
        </pc:spChg>
        <pc:spChg chg="add mod">
          <ac:chgData name="Celine Rose Nicole Choukair" userId="99fb0bcb-3137-4cd1-9e2c-4b0bf91b42b5" providerId="ADAL" clId="{16AD05A4-D6B8-CF42-9834-DA2A8857BD70}" dt="2022-05-22T20:51:43.293" v="3509" actId="20577"/>
          <ac:spMkLst>
            <pc:docMk/>
            <pc:sldMk cId="1207596309" sldId="2145709204"/>
            <ac:spMk id="40" creationId="{384E8F69-0477-9CFA-5AAA-5760EFE4C4CC}"/>
          </ac:spMkLst>
        </pc:spChg>
        <pc:spChg chg="add mod">
          <ac:chgData name="Celine Rose Nicole Choukair" userId="99fb0bcb-3137-4cd1-9e2c-4b0bf91b42b5" providerId="ADAL" clId="{16AD05A4-D6B8-CF42-9834-DA2A8857BD70}" dt="2022-05-22T20:51:46.378" v="3512" actId="20577"/>
          <ac:spMkLst>
            <pc:docMk/>
            <pc:sldMk cId="1207596309" sldId="2145709204"/>
            <ac:spMk id="41" creationId="{63751CFA-85A8-0C46-D0CE-CA1789E3C8F0}"/>
          </ac:spMkLst>
        </pc:spChg>
        <pc:spChg chg="mod">
          <ac:chgData name="Celine Rose Nicole Choukair" userId="99fb0bcb-3137-4cd1-9e2c-4b0bf91b42b5" providerId="ADAL" clId="{16AD05A4-D6B8-CF42-9834-DA2A8857BD70}" dt="2022-05-19T10:38:35.300" v="2053" actId="20577"/>
          <ac:spMkLst>
            <pc:docMk/>
            <pc:sldMk cId="1207596309" sldId="2145709204"/>
            <ac:spMk id="45" creationId="{C995B250-CEAC-6E4F-8474-73820D7394AB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59" creationId="{CE60676E-55F3-4A41-A8A0-A178CEDA4E62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60" creationId="{E088DB73-393C-594D-9C5A-BF1DB31E350A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61" creationId="{52800886-D6D5-C44A-88DD-4F46CAD0B305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64" creationId="{EEDF388E-456F-D74B-AD53-012FC23A3460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65" creationId="{9DAE4D9D-A12D-1C47-9E0B-AA067CBE0A45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66" creationId="{3C84E1C3-3AF1-C541-9E6E-EB0D7F6FB715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68" creationId="{2CBC8492-D15D-0644-8DD0-5FB35BA7DCEC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69" creationId="{06ADBF41-945E-2447-BF7C-2C002A1769DD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70" creationId="{11D2BE62-AB96-9E48-9474-46B0393D288E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72" creationId="{C2AD3D75-E108-F34B-BCBB-2D0EC4FA64D9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73" creationId="{45C81EED-0230-5742-A8AC-8BBF21C08F15}"/>
          </ac:spMkLst>
        </pc:spChg>
        <pc:spChg chg="del">
          <ac:chgData name="Celine Rose Nicole Choukair" userId="99fb0bcb-3137-4cd1-9e2c-4b0bf91b42b5" providerId="ADAL" clId="{16AD05A4-D6B8-CF42-9834-DA2A8857BD70}" dt="2022-05-19T10:32:27.397" v="1685" actId="478"/>
          <ac:spMkLst>
            <pc:docMk/>
            <pc:sldMk cId="1207596309" sldId="2145709204"/>
            <ac:spMk id="74" creationId="{187F24E1-2CB4-2A4E-8361-F33F5D2DD2C0}"/>
          </ac:spMkLst>
        </pc:spChg>
        <pc:picChg chg="del">
          <ac:chgData name="Celine Rose Nicole Choukair" userId="99fb0bcb-3137-4cd1-9e2c-4b0bf91b42b5" providerId="ADAL" clId="{16AD05A4-D6B8-CF42-9834-DA2A8857BD70}" dt="2022-05-19T10:32:27.397" v="1685" actId="478"/>
          <ac:picMkLst>
            <pc:docMk/>
            <pc:sldMk cId="1207596309" sldId="2145709204"/>
            <ac:picMk id="10" creationId="{6D3FBE2E-7440-55B1-431E-999A50D8D977}"/>
          </ac:picMkLst>
        </pc:picChg>
        <pc:picChg chg="del">
          <ac:chgData name="Celine Rose Nicole Choukair" userId="99fb0bcb-3137-4cd1-9e2c-4b0bf91b42b5" providerId="ADAL" clId="{16AD05A4-D6B8-CF42-9834-DA2A8857BD70}" dt="2022-05-19T10:32:27.397" v="1685" actId="478"/>
          <ac:picMkLst>
            <pc:docMk/>
            <pc:sldMk cId="1207596309" sldId="2145709204"/>
            <ac:picMk id="12" creationId="{05169A1A-ADF8-7921-84A6-140FEDC272EB}"/>
          </ac:picMkLst>
        </pc:picChg>
        <pc:picChg chg="del">
          <ac:chgData name="Celine Rose Nicole Choukair" userId="99fb0bcb-3137-4cd1-9e2c-4b0bf91b42b5" providerId="ADAL" clId="{16AD05A4-D6B8-CF42-9834-DA2A8857BD70}" dt="2022-05-19T10:32:27.397" v="1685" actId="478"/>
          <ac:picMkLst>
            <pc:docMk/>
            <pc:sldMk cId="1207596309" sldId="2145709204"/>
            <ac:picMk id="14" creationId="{2B62446F-1711-1223-704A-4BCC075A192B}"/>
          </ac:picMkLst>
        </pc:picChg>
        <pc:picChg chg="del">
          <ac:chgData name="Celine Rose Nicole Choukair" userId="99fb0bcb-3137-4cd1-9e2c-4b0bf91b42b5" providerId="ADAL" clId="{16AD05A4-D6B8-CF42-9834-DA2A8857BD70}" dt="2022-05-19T10:32:27.397" v="1685" actId="478"/>
          <ac:picMkLst>
            <pc:docMk/>
            <pc:sldMk cId="1207596309" sldId="2145709204"/>
            <ac:picMk id="18" creationId="{1424A6B7-00E9-7016-0CB6-AB82A3421DCC}"/>
          </ac:picMkLst>
        </pc:picChg>
      </pc:sldChg>
      <pc:sldChg chg="addSp delSp modSp add mod">
        <pc:chgData name="Celine Rose Nicole Choukair" userId="99fb0bcb-3137-4cd1-9e2c-4b0bf91b42b5" providerId="ADAL" clId="{16AD05A4-D6B8-CF42-9834-DA2A8857BD70}" dt="2022-05-19T20:29:00.882" v="3026" actId="113"/>
        <pc:sldMkLst>
          <pc:docMk/>
          <pc:sldMk cId="4019135145" sldId="2145709205"/>
        </pc:sldMkLst>
        <pc:spChg chg="mod">
          <ac:chgData name="Celine Rose Nicole Choukair" userId="99fb0bcb-3137-4cd1-9e2c-4b0bf91b42b5" providerId="ADAL" clId="{16AD05A4-D6B8-CF42-9834-DA2A8857BD70}" dt="2022-05-19T11:03:48.010" v="2379"/>
          <ac:spMkLst>
            <pc:docMk/>
            <pc:sldMk cId="4019135145" sldId="2145709205"/>
            <ac:spMk id="7" creationId="{0BF1CAB3-4EF1-B741-9C94-D5186A21D681}"/>
          </ac:spMkLst>
        </pc:spChg>
        <pc:spChg chg="mod">
          <ac:chgData name="Celine Rose Nicole Choukair" userId="99fb0bcb-3137-4cd1-9e2c-4b0bf91b42b5" providerId="ADAL" clId="{16AD05A4-D6B8-CF42-9834-DA2A8857BD70}" dt="2022-05-19T20:29:00.882" v="3026" actId="113"/>
          <ac:spMkLst>
            <pc:docMk/>
            <pc:sldMk cId="4019135145" sldId="2145709205"/>
            <ac:spMk id="9" creationId="{63A29117-6960-2B4A-8238-4D732740D819}"/>
          </ac:spMkLst>
        </pc:spChg>
        <pc:spChg chg="del">
          <ac:chgData name="Celine Rose Nicole Choukair" userId="99fb0bcb-3137-4cd1-9e2c-4b0bf91b42b5" providerId="ADAL" clId="{16AD05A4-D6B8-CF42-9834-DA2A8857BD70}" dt="2022-05-19T11:03:30.971" v="2377" actId="478"/>
          <ac:spMkLst>
            <pc:docMk/>
            <pc:sldMk cId="4019135145" sldId="2145709205"/>
            <ac:spMk id="10" creationId="{481B3BF7-951D-F3B2-696D-215F2CF4999E}"/>
          </ac:spMkLst>
        </pc:spChg>
        <pc:picChg chg="del">
          <ac:chgData name="Celine Rose Nicole Choukair" userId="99fb0bcb-3137-4cd1-9e2c-4b0bf91b42b5" providerId="ADAL" clId="{16AD05A4-D6B8-CF42-9834-DA2A8857BD70}" dt="2022-05-19T11:05:52.582" v="2408" actId="478"/>
          <ac:picMkLst>
            <pc:docMk/>
            <pc:sldMk cId="4019135145" sldId="2145709205"/>
            <ac:picMk id="6" creationId="{5199B6EB-2CB0-6D4C-84D8-57ED684B31BF}"/>
          </ac:picMkLst>
        </pc:picChg>
        <pc:picChg chg="add mod">
          <ac:chgData name="Celine Rose Nicole Choukair" userId="99fb0bcb-3137-4cd1-9e2c-4b0bf91b42b5" providerId="ADAL" clId="{16AD05A4-D6B8-CF42-9834-DA2A8857BD70}" dt="2022-05-19T11:05:53.511" v="2409"/>
          <ac:picMkLst>
            <pc:docMk/>
            <pc:sldMk cId="4019135145" sldId="2145709205"/>
            <ac:picMk id="11" creationId="{663C2689-7B60-D35D-AD0E-405391A5F1FC}"/>
          </ac:picMkLst>
        </pc:picChg>
      </pc:sldChg>
      <pc:sldChg chg="addSp modSp add mod">
        <pc:chgData name="Celine Rose Nicole Choukair" userId="99fb0bcb-3137-4cd1-9e2c-4b0bf91b42b5" providerId="ADAL" clId="{16AD05A4-D6B8-CF42-9834-DA2A8857BD70}" dt="2022-05-19T16:56:02.945" v="2925" actId="1076"/>
        <pc:sldMkLst>
          <pc:docMk/>
          <pc:sldMk cId="970434114" sldId="2145709206"/>
        </pc:sldMkLst>
        <pc:spChg chg="mod">
          <ac:chgData name="Celine Rose Nicole Choukair" userId="99fb0bcb-3137-4cd1-9e2c-4b0bf91b42b5" providerId="ADAL" clId="{16AD05A4-D6B8-CF42-9834-DA2A8857BD70}" dt="2022-05-19T16:56:00.427" v="2924" actId="14100"/>
          <ac:spMkLst>
            <pc:docMk/>
            <pc:sldMk cId="970434114" sldId="2145709206"/>
            <ac:spMk id="17" creationId="{5DA2E3D7-8ACA-034E-9E86-4ED14601D39E}"/>
          </ac:spMkLst>
        </pc:spChg>
        <pc:spChg chg="add mod">
          <ac:chgData name="Celine Rose Nicole Choukair" userId="99fb0bcb-3137-4cd1-9e2c-4b0bf91b42b5" providerId="ADAL" clId="{16AD05A4-D6B8-CF42-9834-DA2A8857BD70}" dt="2022-05-19T16:56:02.945" v="2925" actId="1076"/>
          <ac:spMkLst>
            <pc:docMk/>
            <pc:sldMk cId="970434114" sldId="2145709206"/>
            <ac:spMk id="18" creationId="{6CFB7BDF-E3B6-289D-4791-44FBA86B148F}"/>
          </ac:spMkLst>
        </pc:spChg>
      </pc:sldChg>
      <pc:sldChg chg="delSp modSp add mod">
        <pc:chgData name="Celine Rose Nicole Choukair" userId="99fb0bcb-3137-4cd1-9e2c-4b0bf91b42b5" providerId="ADAL" clId="{16AD05A4-D6B8-CF42-9834-DA2A8857BD70}" dt="2022-05-19T16:56:14.452" v="2928" actId="14100"/>
        <pc:sldMkLst>
          <pc:docMk/>
          <pc:sldMk cId="1197924656" sldId="2145709207"/>
        </pc:sldMkLst>
        <pc:spChg chg="del">
          <ac:chgData name="Celine Rose Nicole Choukair" userId="99fb0bcb-3137-4cd1-9e2c-4b0bf91b42b5" providerId="ADAL" clId="{16AD05A4-D6B8-CF42-9834-DA2A8857BD70}" dt="2022-05-19T16:56:11.039" v="2927" actId="478"/>
          <ac:spMkLst>
            <pc:docMk/>
            <pc:sldMk cId="1197924656" sldId="2145709207"/>
            <ac:spMk id="17" creationId="{5DA2E3D7-8ACA-034E-9E86-4ED14601D39E}"/>
          </ac:spMkLst>
        </pc:spChg>
        <pc:spChg chg="mod">
          <ac:chgData name="Celine Rose Nicole Choukair" userId="99fb0bcb-3137-4cd1-9e2c-4b0bf91b42b5" providerId="ADAL" clId="{16AD05A4-D6B8-CF42-9834-DA2A8857BD70}" dt="2022-05-19T16:56:14.452" v="2928" actId="14100"/>
          <ac:spMkLst>
            <pc:docMk/>
            <pc:sldMk cId="1197924656" sldId="2145709207"/>
            <ac:spMk id="18" creationId="{6CFB7BDF-E3B6-289D-4791-44FBA86B148F}"/>
          </ac:spMkLst>
        </pc:spChg>
      </pc:sldChg>
      <pc:sldChg chg="addSp delSp modSp mod">
        <pc:chgData name="Celine Rose Nicole Choukair" userId="99fb0bcb-3137-4cd1-9e2c-4b0bf91b42b5" providerId="ADAL" clId="{16AD05A4-D6B8-CF42-9834-DA2A8857BD70}" dt="2022-05-22T22:13:54.501" v="4930"/>
        <pc:sldMkLst>
          <pc:docMk/>
          <pc:sldMk cId="1595957738" sldId="2145709216"/>
        </pc:sldMkLst>
        <pc:spChg chg="add mod">
          <ac:chgData name="Celine Rose Nicole Choukair" userId="99fb0bcb-3137-4cd1-9e2c-4b0bf91b42b5" providerId="ADAL" clId="{16AD05A4-D6B8-CF42-9834-DA2A8857BD70}" dt="2022-05-22T22:13:54.501" v="4930"/>
          <ac:spMkLst>
            <pc:docMk/>
            <pc:sldMk cId="1595957738" sldId="2145709216"/>
            <ac:spMk id="17" creationId="{D7C184D3-A201-7C37-FC0C-B3150B8122F9}"/>
          </ac:spMkLst>
        </pc:spChg>
        <pc:spChg chg="del">
          <ac:chgData name="Celine Rose Nicole Choukair" userId="99fb0bcb-3137-4cd1-9e2c-4b0bf91b42b5" providerId="ADAL" clId="{16AD05A4-D6B8-CF42-9834-DA2A8857BD70}" dt="2022-05-22T22:13:53.935" v="4929" actId="478"/>
          <ac:spMkLst>
            <pc:docMk/>
            <pc:sldMk cId="1595957738" sldId="2145709216"/>
            <ac:spMk id="29" creationId="{B2D2609A-5951-3C4F-9E53-4B325EA41E04}"/>
          </ac:spMkLst>
        </pc:spChg>
      </pc:sldChg>
      <pc:sldChg chg="addSp delSp modSp mod">
        <pc:chgData name="Celine Rose Nicole Choukair" userId="99fb0bcb-3137-4cd1-9e2c-4b0bf91b42b5" providerId="ADAL" clId="{16AD05A4-D6B8-CF42-9834-DA2A8857BD70}" dt="2022-05-22T22:14:04.010" v="4934"/>
        <pc:sldMkLst>
          <pc:docMk/>
          <pc:sldMk cId="2253695690" sldId="2145709217"/>
        </pc:sldMkLst>
        <pc:spChg chg="add mod">
          <ac:chgData name="Celine Rose Nicole Choukair" userId="99fb0bcb-3137-4cd1-9e2c-4b0bf91b42b5" providerId="ADAL" clId="{16AD05A4-D6B8-CF42-9834-DA2A8857BD70}" dt="2022-05-22T22:14:04.010" v="4934"/>
          <ac:spMkLst>
            <pc:docMk/>
            <pc:sldMk cId="2253695690" sldId="2145709217"/>
            <ac:spMk id="13" creationId="{C710939E-BBBF-6721-5294-449DBFAF2026}"/>
          </ac:spMkLst>
        </pc:spChg>
        <pc:spChg chg="del">
          <ac:chgData name="Celine Rose Nicole Choukair" userId="99fb0bcb-3137-4cd1-9e2c-4b0bf91b42b5" providerId="ADAL" clId="{16AD05A4-D6B8-CF42-9834-DA2A8857BD70}" dt="2022-05-22T22:14:03.450" v="4933" actId="478"/>
          <ac:spMkLst>
            <pc:docMk/>
            <pc:sldMk cId="2253695690" sldId="2145709217"/>
            <ac:spMk id="29" creationId="{B2D2609A-5951-3C4F-9E53-4B325EA41E04}"/>
          </ac:spMkLst>
        </pc:spChg>
      </pc:sldChg>
      <pc:sldChg chg="addSp delSp modSp mod">
        <pc:chgData name="Celine Rose Nicole Choukair" userId="99fb0bcb-3137-4cd1-9e2c-4b0bf91b42b5" providerId="ADAL" clId="{16AD05A4-D6B8-CF42-9834-DA2A8857BD70}" dt="2022-05-22T22:13:58.884" v="4932"/>
        <pc:sldMkLst>
          <pc:docMk/>
          <pc:sldMk cId="2160694419" sldId="2145709218"/>
        </pc:sldMkLst>
        <pc:spChg chg="add mod">
          <ac:chgData name="Celine Rose Nicole Choukair" userId="99fb0bcb-3137-4cd1-9e2c-4b0bf91b42b5" providerId="ADAL" clId="{16AD05A4-D6B8-CF42-9834-DA2A8857BD70}" dt="2022-05-22T22:13:58.884" v="4932"/>
          <ac:spMkLst>
            <pc:docMk/>
            <pc:sldMk cId="2160694419" sldId="2145709218"/>
            <ac:spMk id="23" creationId="{E9C580BE-7021-4488-3E8A-A16FA8506D8F}"/>
          </ac:spMkLst>
        </pc:spChg>
        <pc:spChg chg="del">
          <ac:chgData name="Celine Rose Nicole Choukair" userId="99fb0bcb-3137-4cd1-9e2c-4b0bf91b42b5" providerId="ADAL" clId="{16AD05A4-D6B8-CF42-9834-DA2A8857BD70}" dt="2022-05-22T22:13:58.306" v="4931" actId="478"/>
          <ac:spMkLst>
            <pc:docMk/>
            <pc:sldMk cId="2160694419" sldId="2145709218"/>
            <ac:spMk id="29" creationId="{B2D2609A-5951-3C4F-9E53-4B325EA41E04}"/>
          </ac:spMkLst>
        </pc:spChg>
      </pc:sldChg>
      <pc:sldChg chg="addSp delSp modSp add mod">
        <pc:chgData name="Celine Rose Nicole Choukair" userId="99fb0bcb-3137-4cd1-9e2c-4b0bf91b42b5" providerId="ADAL" clId="{16AD05A4-D6B8-CF42-9834-DA2A8857BD70}" dt="2022-05-22T22:13:21.902" v="4918" actId="20577"/>
        <pc:sldMkLst>
          <pc:docMk/>
          <pc:sldMk cId="470963429" sldId="2145709219"/>
        </pc:sldMkLst>
        <pc:spChg chg="add mod">
          <ac:chgData name="Celine Rose Nicole Choukair" userId="99fb0bcb-3137-4cd1-9e2c-4b0bf91b42b5" providerId="ADAL" clId="{16AD05A4-D6B8-CF42-9834-DA2A8857BD70}" dt="2022-05-22T21:56:07.623" v="4298"/>
          <ac:spMkLst>
            <pc:docMk/>
            <pc:sldMk cId="470963429" sldId="2145709219"/>
            <ac:spMk id="8" creationId="{3CA9C68F-55EA-9BFF-352C-6F7B05D30C9A}"/>
          </ac:spMkLst>
        </pc:spChg>
        <pc:spChg chg="mod">
          <ac:chgData name="Celine Rose Nicole Choukair" userId="99fb0bcb-3137-4cd1-9e2c-4b0bf91b42b5" providerId="ADAL" clId="{16AD05A4-D6B8-CF42-9834-DA2A8857BD70}" dt="2022-05-22T21:56:51.232" v="4303" actId="166"/>
          <ac:spMkLst>
            <pc:docMk/>
            <pc:sldMk cId="470963429" sldId="2145709219"/>
            <ac:spMk id="9" creationId="{30EC367A-9686-BEFF-5F41-7ACC9453A71B}"/>
          </ac:spMkLst>
        </pc:spChg>
        <pc:spChg chg="add mod">
          <ac:chgData name="Celine Rose Nicole Choukair" userId="99fb0bcb-3137-4cd1-9e2c-4b0bf91b42b5" providerId="ADAL" clId="{16AD05A4-D6B8-CF42-9834-DA2A8857BD70}" dt="2022-05-22T20:52:17.303" v="3516"/>
          <ac:spMkLst>
            <pc:docMk/>
            <pc:sldMk cId="470963429" sldId="2145709219"/>
            <ac:spMk id="11" creationId="{96C35F59-38DC-5CE2-C6C0-AB0EEE965219}"/>
          </ac:spMkLst>
        </pc:spChg>
        <pc:spChg chg="add mod">
          <ac:chgData name="Celine Rose Nicole Choukair" userId="99fb0bcb-3137-4cd1-9e2c-4b0bf91b42b5" providerId="ADAL" clId="{16AD05A4-D6B8-CF42-9834-DA2A8857BD70}" dt="2022-05-22T20:52:17.303" v="3516"/>
          <ac:spMkLst>
            <pc:docMk/>
            <pc:sldMk cId="470963429" sldId="2145709219"/>
            <ac:spMk id="12" creationId="{507CD834-2994-EEF4-C15C-1140178C66D6}"/>
          </ac:spMkLst>
        </pc:spChg>
        <pc:spChg chg="mod">
          <ac:chgData name="Celine Rose Nicole Choukair" userId="99fb0bcb-3137-4cd1-9e2c-4b0bf91b42b5" providerId="ADAL" clId="{16AD05A4-D6B8-CF42-9834-DA2A8857BD70}" dt="2022-05-22T20:52:19.209" v="3517"/>
          <ac:spMkLst>
            <pc:docMk/>
            <pc:sldMk cId="470963429" sldId="2145709219"/>
            <ac:spMk id="14" creationId="{A34785B4-8672-09C4-B5FD-FF2FDFDCF4D7}"/>
          </ac:spMkLst>
        </pc:spChg>
        <pc:spChg chg="mod">
          <ac:chgData name="Celine Rose Nicole Choukair" userId="99fb0bcb-3137-4cd1-9e2c-4b0bf91b42b5" providerId="ADAL" clId="{16AD05A4-D6B8-CF42-9834-DA2A8857BD70}" dt="2022-05-22T20:52:19.209" v="3517"/>
          <ac:spMkLst>
            <pc:docMk/>
            <pc:sldMk cId="470963429" sldId="2145709219"/>
            <ac:spMk id="15" creationId="{BF748EF0-CEB7-EBD7-6AB2-A658DB2F9E62}"/>
          </ac:spMkLst>
        </pc:spChg>
        <pc:spChg chg="mod">
          <ac:chgData name="Celine Rose Nicole Choukair" userId="99fb0bcb-3137-4cd1-9e2c-4b0bf91b42b5" providerId="ADAL" clId="{16AD05A4-D6B8-CF42-9834-DA2A8857BD70}" dt="2022-05-22T20:52:28.505" v="3524"/>
          <ac:spMkLst>
            <pc:docMk/>
            <pc:sldMk cId="470963429" sldId="2145709219"/>
            <ac:spMk id="17" creationId="{55E30071-0300-777F-9C03-EE3774DC33F2}"/>
          </ac:spMkLst>
        </pc:spChg>
        <pc:spChg chg="mod">
          <ac:chgData name="Celine Rose Nicole Choukair" userId="99fb0bcb-3137-4cd1-9e2c-4b0bf91b42b5" providerId="ADAL" clId="{16AD05A4-D6B8-CF42-9834-DA2A8857BD70}" dt="2022-05-22T20:52:28.505" v="3524"/>
          <ac:spMkLst>
            <pc:docMk/>
            <pc:sldMk cId="470963429" sldId="2145709219"/>
            <ac:spMk id="18" creationId="{99422B9F-459F-5489-64B6-68B8B81DD651}"/>
          </ac:spMkLst>
        </pc:spChg>
        <pc:spChg chg="add mod">
          <ac:chgData name="Celine Rose Nicole Choukair" userId="99fb0bcb-3137-4cd1-9e2c-4b0bf91b42b5" providerId="ADAL" clId="{16AD05A4-D6B8-CF42-9834-DA2A8857BD70}" dt="2022-05-22T21:50:02.395" v="4144" actId="113"/>
          <ac:spMkLst>
            <pc:docMk/>
            <pc:sldMk cId="470963429" sldId="2145709219"/>
            <ac:spMk id="24" creationId="{D65FA964-FD35-44E6-B24B-5DE790623B45}"/>
          </ac:spMkLst>
        </pc:spChg>
        <pc:spChg chg="add mod">
          <ac:chgData name="Celine Rose Nicole Choukair" userId="99fb0bcb-3137-4cd1-9e2c-4b0bf91b42b5" providerId="ADAL" clId="{16AD05A4-D6B8-CF42-9834-DA2A8857BD70}" dt="2022-05-22T21:51:44.319" v="4189" actId="113"/>
          <ac:spMkLst>
            <pc:docMk/>
            <pc:sldMk cId="470963429" sldId="2145709219"/>
            <ac:spMk id="25" creationId="{827D565C-71DC-D8C7-28A2-F6484B3EF2D6}"/>
          </ac:spMkLst>
        </pc:spChg>
        <pc:spChg chg="add mod">
          <ac:chgData name="Celine Rose Nicole Choukair" userId="99fb0bcb-3137-4cd1-9e2c-4b0bf91b42b5" providerId="ADAL" clId="{16AD05A4-D6B8-CF42-9834-DA2A8857BD70}" dt="2022-05-22T20:55:38.110" v="3626"/>
          <ac:spMkLst>
            <pc:docMk/>
            <pc:sldMk cId="470963429" sldId="2145709219"/>
            <ac:spMk id="26" creationId="{75B83994-2E70-A9D8-DC51-78B2245A5126}"/>
          </ac:spMkLst>
        </pc:spChg>
        <pc:spChg chg="add mod">
          <ac:chgData name="Celine Rose Nicole Choukair" userId="99fb0bcb-3137-4cd1-9e2c-4b0bf91b42b5" providerId="ADAL" clId="{16AD05A4-D6B8-CF42-9834-DA2A8857BD70}" dt="2022-05-22T21:45:56.189" v="4082" actId="207"/>
          <ac:spMkLst>
            <pc:docMk/>
            <pc:sldMk cId="470963429" sldId="2145709219"/>
            <ac:spMk id="27" creationId="{F3F5D2AF-B82D-077C-2B1D-08AFB7E4BC21}"/>
          </ac:spMkLst>
        </pc:spChg>
        <pc:spChg chg="mod">
          <ac:chgData name="Celine Rose Nicole Choukair" userId="99fb0bcb-3137-4cd1-9e2c-4b0bf91b42b5" providerId="ADAL" clId="{16AD05A4-D6B8-CF42-9834-DA2A8857BD70}" dt="2022-05-22T21:41:03.435" v="3840" actId="20577"/>
          <ac:spMkLst>
            <pc:docMk/>
            <pc:sldMk cId="470963429" sldId="2145709219"/>
            <ac:spMk id="28" creationId="{1707D6E5-FBC2-4348-8CCB-0F1B8C5B4AC0}"/>
          </ac:spMkLst>
        </pc:spChg>
        <pc:spChg chg="mod">
          <ac:chgData name="Celine Rose Nicole Choukair" userId="99fb0bcb-3137-4cd1-9e2c-4b0bf91b42b5" providerId="ADAL" clId="{16AD05A4-D6B8-CF42-9834-DA2A8857BD70}" dt="2022-05-22T22:13:21.902" v="4918" actId="20577"/>
          <ac:spMkLst>
            <pc:docMk/>
            <pc:sldMk cId="470963429" sldId="2145709219"/>
            <ac:spMk id="29" creationId="{B2D2609A-5951-3C4F-9E53-4B325EA41E04}"/>
          </ac:spMkLst>
        </pc:spChg>
        <pc:spChg chg="mod">
          <ac:chgData name="Celine Rose Nicole Choukair" userId="99fb0bcb-3137-4cd1-9e2c-4b0bf91b42b5" providerId="ADAL" clId="{16AD05A4-D6B8-CF42-9834-DA2A8857BD70}" dt="2022-05-22T21:43:59.374" v="3935"/>
          <ac:spMkLst>
            <pc:docMk/>
            <pc:sldMk cId="470963429" sldId="2145709219"/>
            <ac:spMk id="30" creationId="{37A31358-C64D-BA4B-B76C-08DCCEFFF2BF}"/>
          </ac:spMkLst>
        </pc:spChg>
        <pc:spChg chg="add mod">
          <ac:chgData name="Celine Rose Nicole Choukair" userId="99fb0bcb-3137-4cd1-9e2c-4b0bf91b42b5" providerId="ADAL" clId="{16AD05A4-D6B8-CF42-9834-DA2A8857BD70}" dt="2022-05-22T21:45:14.854" v="3969" actId="207"/>
          <ac:spMkLst>
            <pc:docMk/>
            <pc:sldMk cId="470963429" sldId="2145709219"/>
            <ac:spMk id="31" creationId="{53B6CC87-2155-098B-3314-A5A9AB21802D}"/>
          </ac:spMkLst>
        </pc:spChg>
        <pc:spChg chg="add mod">
          <ac:chgData name="Celine Rose Nicole Choukair" userId="99fb0bcb-3137-4cd1-9e2c-4b0bf91b42b5" providerId="ADAL" clId="{16AD05A4-D6B8-CF42-9834-DA2A8857BD70}" dt="2022-05-22T21:45:40.607" v="4054" actId="207"/>
          <ac:spMkLst>
            <pc:docMk/>
            <pc:sldMk cId="470963429" sldId="2145709219"/>
            <ac:spMk id="32" creationId="{A7F30C3B-24F8-57F2-D1CB-DDBB8E4C015B}"/>
          </ac:spMkLst>
        </pc:spChg>
        <pc:spChg chg="add mod">
          <ac:chgData name="Celine Rose Nicole Choukair" userId="99fb0bcb-3137-4cd1-9e2c-4b0bf91b42b5" providerId="ADAL" clId="{16AD05A4-D6B8-CF42-9834-DA2A8857BD70}" dt="2022-05-22T21:56:55.678" v="4304" actId="14100"/>
          <ac:spMkLst>
            <pc:docMk/>
            <pc:sldMk cId="470963429" sldId="2145709219"/>
            <ac:spMk id="33" creationId="{A95A57AB-C9A3-CF30-BA74-C92BC03963CD}"/>
          </ac:spMkLst>
        </pc:spChg>
        <pc:spChg chg="add mod">
          <ac:chgData name="Celine Rose Nicole Choukair" userId="99fb0bcb-3137-4cd1-9e2c-4b0bf91b42b5" providerId="ADAL" clId="{16AD05A4-D6B8-CF42-9834-DA2A8857BD70}" dt="2022-05-22T21:56:40.666" v="4301" actId="1076"/>
          <ac:spMkLst>
            <pc:docMk/>
            <pc:sldMk cId="470963429" sldId="2145709219"/>
            <ac:spMk id="34" creationId="{A21DBB50-222A-D122-B85C-37CEB1221FD2}"/>
          </ac:spMkLst>
        </pc:spChg>
        <pc:spChg chg="add mod">
          <ac:chgData name="Celine Rose Nicole Choukair" userId="99fb0bcb-3137-4cd1-9e2c-4b0bf91b42b5" providerId="ADAL" clId="{16AD05A4-D6B8-CF42-9834-DA2A8857BD70}" dt="2022-05-22T21:56:40.666" v="4301" actId="1076"/>
          <ac:spMkLst>
            <pc:docMk/>
            <pc:sldMk cId="470963429" sldId="2145709219"/>
            <ac:spMk id="35" creationId="{E4F94E25-B6E1-DEE6-AF29-C8924280889B}"/>
          </ac:spMkLst>
        </pc:spChg>
        <pc:spChg chg="add mod">
          <ac:chgData name="Celine Rose Nicole Choukair" userId="99fb0bcb-3137-4cd1-9e2c-4b0bf91b42b5" providerId="ADAL" clId="{16AD05A4-D6B8-CF42-9834-DA2A8857BD70}" dt="2022-05-22T21:58:50.196" v="4321" actId="1076"/>
          <ac:spMkLst>
            <pc:docMk/>
            <pc:sldMk cId="470963429" sldId="2145709219"/>
            <ac:spMk id="36" creationId="{E0E04D94-69D8-FBD4-8165-5D676B357F8B}"/>
          </ac:spMkLst>
        </pc:spChg>
        <pc:spChg chg="add mod">
          <ac:chgData name="Celine Rose Nicole Choukair" userId="99fb0bcb-3137-4cd1-9e2c-4b0bf91b42b5" providerId="ADAL" clId="{16AD05A4-D6B8-CF42-9834-DA2A8857BD70}" dt="2022-05-22T22:03:26.508" v="4664" actId="1035"/>
          <ac:spMkLst>
            <pc:docMk/>
            <pc:sldMk cId="470963429" sldId="2145709219"/>
            <ac:spMk id="37" creationId="{0070E89A-4B69-2478-6766-074EDC3CFF4A}"/>
          </ac:spMkLst>
        </pc:spChg>
        <pc:spChg chg="add del mod">
          <ac:chgData name="Celine Rose Nicole Choukair" userId="99fb0bcb-3137-4cd1-9e2c-4b0bf91b42b5" providerId="ADAL" clId="{16AD05A4-D6B8-CF42-9834-DA2A8857BD70}" dt="2022-05-22T21:59:23.302" v="4382"/>
          <ac:spMkLst>
            <pc:docMk/>
            <pc:sldMk cId="470963429" sldId="2145709219"/>
            <ac:spMk id="38" creationId="{6B39CCD2-AE3F-A6D8-D494-A6B679B91255}"/>
          </ac:spMkLst>
        </pc:spChg>
        <pc:spChg chg="add del mod">
          <ac:chgData name="Celine Rose Nicole Choukair" userId="99fb0bcb-3137-4cd1-9e2c-4b0bf91b42b5" providerId="ADAL" clId="{16AD05A4-D6B8-CF42-9834-DA2A8857BD70}" dt="2022-05-22T21:59:22.900" v="4381"/>
          <ac:spMkLst>
            <pc:docMk/>
            <pc:sldMk cId="470963429" sldId="2145709219"/>
            <ac:spMk id="39" creationId="{BCBA1835-0AD5-789F-03D7-37E5DE933A5B}"/>
          </ac:spMkLst>
        </pc:spChg>
        <pc:spChg chg="add mod">
          <ac:chgData name="Celine Rose Nicole Choukair" userId="99fb0bcb-3137-4cd1-9e2c-4b0bf91b42b5" providerId="ADAL" clId="{16AD05A4-D6B8-CF42-9834-DA2A8857BD70}" dt="2022-05-22T22:03:21.478" v="4661" actId="20577"/>
          <ac:spMkLst>
            <pc:docMk/>
            <pc:sldMk cId="470963429" sldId="2145709219"/>
            <ac:spMk id="40" creationId="{3DEAC155-1BC9-B8E8-A79D-5F4F12F5E28D}"/>
          </ac:spMkLst>
        </pc:spChg>
        <pc:spChg chg="add mod">
          <ac:chgData name="Celine Rose Nicole Choukair" userId="99fb0bcb-3137-4cd1-9e2c-4b0bf91b42b5" providerId="ADAL" clId="{16AD05A4-D6B8-CF42-9834-DA2A8857BD70}" dt="2022-05-22T22:01:16.278" v="4560" actId="20577"/>
          <ac:spMkLst>
            <pc:docMk/>
            <pc:sldMk cId="470963429" sldId="2145709219"/>
            <ac:spMk id="41" creationId="{BC1491C1-EA54-8B10-D335-C5AF50E32B24}"/>
          </ac:spMkLst>
        </pc:spChg>
        <pc:grpChg chg="add del mod">
          <ac:chgData name="Celine Rose Nicole Choukair" userId="99fb0bcb-3137-4cd1-9e2c-4b0bf91b42b5" providerId="ADAL" clId="{16AD05A4-D6B8-CF42-9834-DA2A8857BD70}" dt="2022-05-22T21:56:13.986" v="4299" actId="478"/>
          <ac:grpSpMkLst>
            <pc:docMk/>
            <pc:sldMk cId="470963429" sldId="2145709219"/>
            <ac:grpSpMk id="10" creationId="{CD299AEB-3323-168D-469A-6D3097A5796F}"/>
          </ac:grpSpMkLst>
        </pc:grpChg>
        <pc:grpChg chg="add mod">
          <ac:chgData name="Celine Rose Nicole Choukair" userId="99fb0bcb-3137-4cd1-9e2c-4b0bf91b42b5" providerId="ADAL" clId="{16AD05A4-D6B8-CF42-9834-DA2A8857BD70}" dt="2022-05-22T20:56:02.174" v="3662" actId="1036"/>
          <ac:grpSpMkLst>
            <pc:docMk/>
            <pc:sldMk cId="470963429" sldId="2145709219"/>
            <ac:grpSpMk id="13" creationId="{BCA8A077-18C5-7485-2A67-C67E460414DD}"/>
          </ac:grpSpMkLst>
        </pc:grpChg>
        <pc:grpChg chg="add mod">
          <ac:chgData name="Celine Rose Nicole Choukair" userId="99fb0bcb-3137-4cd1-9e2c-4b0bf91b42b5" providerId="ADAL" clId="{16AD05A4-D6B8-CF42-9834-DA2A8857BD70}" dt="2022-05-22T20:56:02.174" v="3662" actId="1036"/>
          <ac:grpSpMkLst>
            <pc:docMk/>
            <pc:sldMk cId="470963429" sldId="2145709219"/>
            <ac:grpSpMk id="16" creationId="{DC968F8E-F83A-C346-E9CB-8456D79F97B7}"/>
          </ac:grpSpMkLst>
        </pc:grpChg>
        <pc:grpChg chg="add mod">
          <ac:chgData name="Celine Rose Nicole Choukair" userId="99fb0bcb-3137-4cd1-9e2c-4b0bf91b42b5" providerId="ADAL" clId="{16AD05A4-D6B8-CF42-9834-DA2A8857BD70}" dt="2022-05-22T21:56:07.623" v="4298"/>
          <ac:grpSpMkLst>
            <pc:docMk/>
            <pc:sldMk cId="470963429" sldId="2145709219"/>
            <ac:grpSpMk id="19" creationId="{7C591380-CFC8-FE5A-9380-507D9ED63570}"/>
          </ac:grpSpMkLst>
        </pc:grpChg>
        <pc:graphicFrameChg chg="mod modGraphic">
          <ac:chgData name="Celine Rose Nicole Choukair" userId="99fb0bcb-3137-4cd1-9e2c-4b0bf91b42b5" providerId="ADAL" clId="{16AD05A4-D6B8-CF42-9834-DA2A8857BD70}" dt="2022-05-22T21:36:23.050" v="3758" actId="20577"/>
          <ac:graphicFrameMkLst>
            <pc:docMk/>
            <pc:sldMk cId="470963429" sldId="2145709219"/>
            <ac:graphicFrameMk id="2" creationId="{5C419496-5604-4C46-E7EC-19E6AEF41447}"/>
          </ac:graphicFrameMkLst>
        </pc:graphicFrameChg>
        <pc:graphicFrameChg chg="add mod modGraphic">
          <ac:chgData name="Celine Rose Nicole Choukair" userId="99fb0bcb-3137-4cd1-9e2c-4b0bf91b42b5" providerId="ADAL" clId="{16AD05A4-D6B8-CF42-9834-DA2A8857BD70}" dt="2022-05-22T21:37:30.375" v="3782" actId="207"/>
          <ac:graphicFrameMkLst>
            <pc:docMk/>
            <pc:sldMk cId="470963429" sldId="2145709219"/>
            <ac:graphicFrameMk id="3" creationId="{84238C59-9A82-8E58-2E78-C8E447C554BE}"/>
          </ac:graphicFrameMkLst>
        </pc:graphicFrameChg>
        <pc:graphicFrameChg chg="add mod modGraphic">
          <ac:chgData name="Celine Rose Nicole Choukair" userId="99fb0bcb-3137-4cd1-9e2c-4b0bf91b42b5" providerId="ADAL" clId="{16AD05A4-D6B8-CF42-9834-DA2A8857BD70}" dt="2022-05-22T21:36:49.334" v="3776" actId="20577"/>
          <ac:graphicFrameMkLst>
            <pc:docMk/>
            <pc:sldMk cId="470963429" sldId="2145709219"/>
            <ac:graphicFrameMk id="4" creationId="{D4B1D746-6ECD-A2C2-3EDC-2D953617CC41}"/>
          </ac:graphicFrameMkLst>
        </pc:graphicFrameChg>
        <pc:graphicFrameChg chg="del mod modGraphic">
          <ac:chgData name="Celine Rose Nicole Choukair" userId="99fb0bcb-3137-4cd1-9e2c-4b0bf91b42b5" providerId="ADAL" clId="{16AD05A4-D6B8-CF42-9834-DA2A8857BD70}" dt="2022-05-22T20:55:40.480" v="3627" actId="478"/>
          <ac:graphicFrameMkLst>
            <pc:docMk/>
            <pc:sldMk cId="470963429" sldId="2145709219"/>
            <ac:graphicFrameMk id="7" creationId="{8442B54A-F7E4-DA42-B3D7-63F16FB30A4F}"/>
          </ac:graphicFrameMkLst>
        </pc:graphicFrameChg>
        <pc:cxnChg chg="add mod">
          <ac:chgData name="Celine Rose Nicole Choukair" userId="99fb0bcb-3137-4cd1-9e2c-4b0bf91b42b5" providerId="ADAL" clId="{16AD05A4-D6B8-CF42-9834-DA2A8857BD70}" dt="2022-05-22T21:56:07.623" v="4298"/>
          <ac:cxnSpMkLst>
            <pc:docMk/>
            <pc:sldMk cId="470963429" sldId="2145709219"/>
            <ac:cxnSpMk id="6" creationId="{F119A273-B520-C0C4-788F-FA5872ABC289}"/>
          </ac:cxnSpMkLst>
        </pc:cxnChg>
        <pc:cxnChg chg="add mod">
          <ac:chgData name="Celine Rose Nicole Choukair" userId="99fb0bcb-3137-4cd1-9e2c-4b0bf91b42b5" providerId="ADAL" clId="{16AD05A4-D6B8-CF42-9834-DA2A8857BD70}" dt="2022-05-22T20:56:02.174" v="3662" actId="1036"/>
          <ac:cxnSpMkLst>
            <pc:docMk/>
            <pc:sldMk cId="470963429" sldId="2145709219"/>
            <ac:cxnSpMk id="21" creationId="{0EBB3EFD-08F7-EE7D-308C-6CD6843BCEA4}"/>
          </ac:cxnSpMkLst>
        </pc:cxnChg>
        <pc:cxnChg chg="add mod">
          <ac:chgData name="Celine Rose Nicole Choukair" userId="99fb0bcb-3137-4cd1-9e2c-4b0bf91b42b5" providerId="ADAL" clId="{16AD05A4-D6B8-CF42-9834-DA2A8857BD70}" dt="2022-05-22T20:56:02.174" v="3662" actId="1036"/>
          <ac:cxnSpMkLst>
            <pc:docMk/>
            <pc:sldMk cId="470963429" sldId="2145709219"/>
            <ac:cxnSpMk id="22" creationId="{5DF01C98-17AE-26C6-3460-3074E3EFD68C}"/>
          </ac:cxnSpMkLst>
        </pc:cxnChg>
      </pc:sldChg>
      <pc:sldChg chg="addSp delSp modSp mod ord">
        <pc:chgData name="Celine Rose Nicole Choukair" userId="99fb0bcb-3137-4cd1-9e2c-4b0bf91b42b5" providerId="ADAL" clId="{16AD05A4-D6B8-CF42-9834-DA2A8857BD70}" dt="2022-05-22T22:15:38.425" v="5045" actId="20577"/>
        <pc:sldMkLst>
          <pc:docMk/>
          <pc:sldMk cId="1219914467" sldId="2145709220"/>
        </pc:sldMkLst>
        <pc:spChg chg="del">
          <ac:chgData name="Celine Rose Nicole Choukair" userId="99fb0bcb-3137-4cd1-9e2c-4b0bf91b42b5" providerId="ADAL" clId="{16AD05A4-D6B8-CF42-9834-DA2A8857BD70}" dt="2022-05-22T22:03:49.584" v="4665" actId="478"/>
          <ac:spMkLst>
            <pc:docMk/>
            <pc:sldMk cId="1219914467" sldId="2145709220"/>
            <ac:spMk id="3" creationId="{1C991224-F042-B95B-E345-2581DFA9E01F}"/>
          </ac:spMkLst>
        </pc:spChg>
        <pc:spChg chg="del">
          <ac:chgData name="Celine Rose Nicole Choukair" userId="99fb0bcb-3137-4cd1-9e2c-4b0bf91b42b5" providerId="ADAL" clId="{16AD05A4-D6B8-CF42-9834-DA2A8857BD70}" dt="2022-05-22T22:03:49.584" v="4665" actId="478"/>
          <ac:spMkLst>
            <pc:docMk/>
            <pc:sldMk cId="1219914467" sldId="2145709220"/>
            <ac:spMk id="4" creationId="{A66FE265-146C-9ADC-351F-9FBD15C3A492}"/>
          </ac:spMkLst>
        </pc:spChg>
        <pc:spChg chg="del">
          <ac:chgData name="Celine Rose Nicole Choukair" userId="99fb0bcb-3137-4cd1-9e2c-4b0bf91b42b5" providerId="ADAL" clId="{16AD05A4-D6B8-CF42-9834-DA2A8857BD70}" dt="2022-05-22T22:13:09.689" v="4899" actId="478"/>
          <ac:spMkLst>
            <pc:docMk/>
            <pc:sldMk cId="1219914467" sldId="2145709220"/>
            <ac:spMk id="6" creationId="{7BF33915-94A1-5596-6E8E-27F0F23E2A5E}"/>
          </ac:spMkLst>
        </pc:spChg>
        <pc:spChg chg="add mod">
          <ac:chgData name="Celine Rose Nicole Choukair" userId="99fb0bcb-3137-4cd1-9e2c-4b0bf91b42b5" providerId="ADAL" clId="{16AD05A4-D6B8-CF42-9834-DA2A8857BD70}" dt="2022-05-22T22:15:38.425" v="5045" actId="20577"/>
          <ac:spMkLst>
            <pc:docMk/>
            <pc:sldMk cId="1219914467" sldId="2145709220"/>
            <ac:spMk id="8" creationId="{5AC0BA07-5A37-4640-91A1-B63DBBEED422}"/>
          </ac:spMkLst>
        </pc:spChg>
        <pc:spChg chg="add mod">
          <ac:chgData name="Celine Rose Nicole Choukair" userId="99fb0bcb-3137-4cd1-9e2c-4b0bf91b42b5" providerId="ADAL" clId="{16AD05A4-D6B8-CF42-9834-DA2A8857BD70}" dt="2022-05-22T22:03:50.512" v="4666"/>
          <ac:spMkLst>
            <pc:docMk/>
            <pc:sldMk cId="1219914467" sldId="2145709220"/>
            <ac:spMk id="9" creationId="{97467720-8E0C-668D-7932-A8A584987EFB}"/>
          </ac:spMkLst>
        </pc:spChg>
        <pc:spChg chg="add mod">
          <ac:chgData name="Celine Rose Nicole Choukair" userId="99fb0bcb-3137-4cd1-9e2c-4b0bf91b42b5" providerId="ADAL" clId="{16AD05A4-D6B8-CF42-9834-DA2A8857BD70}" dt="2022-05-22T22:08:44.401" v="4679"/>
          <ac:spMkLst>
            <pc:docMk/>
            <pc:sldMk cId="1219914467" sldId="2145709220"/>
            <ac:spMk id="11" creationId="{DF5587A8-A05E-C1A5-338B-3DD0F248F36D}"/>
          </ac:spMkLst>
        </pc:spChg>
        <pc:spChg chg="add del mod">
          <ac:chgData name="Celine Rose Nicole Choukair" userId="99fb0bcb-3137-4cd1-9e2c-4b0bf91b42b5" providerId="ADAL" clId="{16AD05A4-D6B8-CF42-9834-DA2A8857BD70}" dt="2022-05-22T22:10:18.931" v="4739" actId="478"/>
          <ac:spMkLst>
            <pc:docMk/>
            <pc:sldMk cId="1219914467" sldId="2145709220"/>
            <ac:spMk id="12" creationId="{07E51D1A-1793-BEE5-95D6-A000CA90FE46}"/>
          </ac:spMkLst>
        </pc:spChg>
        <pc:spChg chg="mod topLvl">
          <ac:chgData name="Celine Rose Nicole Choukair" userId="99fb0bcb-3137-4cd1-9e2c-4b0bf91b42b5" providerId="ADAL" clId="{16AD05A4-D6B8-CF42-9834-DA2A8857BD70}" dt="2022-05-22T22:12:34.479" v="4871"/>
          <ac:spMkLst>
            <pc:docMk/>
            <pc:sldMk cId="1219914467" sldId="2145709220"/>
            <ac:spMk id="15" creationId="{213CEF78-0642-7BE1-C57A-1520779ACBDB}"/>
          </ac:spMkLst>
        </pc:spChg>
        <pc:spChg chg="mod topLvl">
          <ac:chgData name="Celine Rose Nicole Choukair" userId="99fb0bcb-3137-4cd1-9e2c-4b0bf91b42b5" providerId="ADAL" clId="{16AD05A4-D6B8-CF42-9834-DA2A8857BD70}" dt="2022-05-22T22:12:34.479" v="4871"/>
          <ac:spMkLst>
            <pc:docMk/>
            <pc:sldMk cId="1219914467" sldId="2145709220"/>
            <ac:spMk id="16" creationId="{5EA7D696-9A30-162F-7C4D-79F0F525FFFA}"/>
          </ac:spMkLst>
        </pc:spChg>
        <pc:spChg chg="mod topLvl">
          <ac:chgData name="Celine Rose Nicole Choukair" userId="99fb0bcb-3137-4cd1-9e2c-4b0bf91b42b5" providerId="ADAL" clId="{16AD05A4-D6B8-CF42-9834-DA2A8857BD70}" dt="2022-05-22T22:12:34.479" v="4871"/>
          <ac:spMkLst>
            <pc:docMk/>
            <pc:sldMk cId="1219914467" sldId="2145709220"/>
            <ac:spMk id="17" creationId="{E9337A40-CEAE-BBC6-A3C6-DA959F64855A}"/>
          </ac:spMkLst>
        </pc:spChg>
        <pc:spChg chg="mod topLvl">
          <ac:chgData name="Celine Rose Nicole Choukair" userId="99fb0bcb-3137-4cd1-9e2c-4b0bf91b42b5" providerId="ADAL" clId="{16AD05A4-D6B8-CF42-9834-DA2A8857BD70}" dt="2022-05-22T22:12:34.479" v="4871"/>
          <ac:spMkLst>
            <pc:docMk/>
            <pc:sldMk cId="1219914467" sldId="2145709220"/>
            <ac:spMk id="18" creationId="{9A640243-79B5-6319-9635-72F117586D76}"/>
          </ac:spMkLst>
        </pc:spChg>
        <pc:spChg chg="mod topLvl">
          <ac:chgData name="Celine Rose Nicole Choukair" userId="99fb0bcb-3137-4cd1-9e2c-4b0bf91b42b5" providerId="ADAL" clId="{16AD05A4-D6B8-CF42-9834-DA2A8857BD70}" dt="2022-05-22T22:12:34.479" v="4871"/>
          <ac:spMkLst>
            <pc:docMk/>
            <pc:sldMk cId="1219914467" sldId="2145709220"/>
            <ac:spMk id="19" creationId="{C352E0E5-AAFB-44F9-768F-A2DDE7BF1569}"/>
          </ac:spMkLst>
        </pc:spChg>
        <pc:spChg chg="add del mod">
          <ac:chgData name="Celine Rose Nicole Choukair" userId="99fb0bcb-3137-4cd1-9e2c-4b0bf91b42b5" providerId="ADAL" clId="{16AD05A4-D6B8-CF42-9834-DA2A8857BD70}" dt="2022-05-22T22:10:49.768" v="4796" actId="478"/>
          <ac:spMkLst>
            <pc:docMk/>
            <pc:sldMk cId="1219914467" sldId="2145709220"/>
            <ac:spMk id="22" creationId="{A7A60549-1A7B-FE17-49EF-0CE76EE9C22B}"/>
          </ac:spMkLst>
        </pc:spChg>
        <pc:spChg chg="add del mod">
          <ac:chgData name="Celine Rose Nicole Choukair" userId="99fb0bcb-3137-4cd1-9e2c-4b0bf91b42b5" providerId="ADAL" clId="{16AD05A4-D6B8-CF42-9834-DA2A8857BD70}" dt="2022-05-22T22:13:24.947" v="4919" actId="478"/>
          <ac:spMkLst>
            <pc:docMk/>
            <pc:sldMk cId="1219914467" sldId="2145709220"/>
            <ac:spMk id="24" creationId="{29A69C74-8635-2699-C715-B4D51EB26D5D}"/>
          </ac:spMkLst>
        </pc:spChg>
        <pc:spChg chg="add mod">
          <ac:chgData name="Celine Rose Nicole Choukair" userId="99fb0bcb-3137-4cd1-9e2c-4b0bf91b42b5" providerId="ADAL" clId="{16AD05A4-D6B8-CF42-9834-DA2A8857BD70}" dt="2022-05-22T22:13:25.460" v="4920"/>
          <ac:spMkLst>
            <pc:docMk/>
            <pc:sldMk cId="1219914467" sldId="2145709220"/>
            <ac:spMk id="25" creationId="{0AC1133E-E36F-BB62-B8AF-BAB9C3C54D63}"/>
          </ac:spMkLst>
        </pc:spChg>
        <pc:spChg chg="add mod">
          <ac:chgData name="Celine Rose Nicole Choukair" userId="99fb0bcb-3137-4cd1-9e2c-4b0bf91b42b5" providerId="ADAL" clId="{16AD05A4-D6B8-CF42-9834-DA2A8857BD70}" dt="2022-05-22T22:15:02.906" v="4975" actId="408"/>
          <ac:spMkLst>
            <pc:docMk/>
            <pc:sldMk cId="1219914467" sldId="2145709220"/>
            <ac:spMk id="26" creationId="{5DE962B3-BA35-0138-71C4-1A1D4EF658EF}"/>
          </ac:spMkLst>
        </pc:spChg>
        <pc:spChg chg="add mod">
          <ac:chgData name="Celine Rose Nicole Choukair" userId="99fb0bcb-3137-4cd1-9e2c-4b0bf91b42b5" providerId="ADAL" clId="{16AD05A4-D6B8-CF42-9834-DA2A8857BD70}" dt="2022-05-22T22:15:02.906" v="4975" actId="408"/>
          <ac:spMkLst>
            <pc:docMk/>
            <pc:sldMk cId="1219914467" sldId="2145709220"/>
            <ac:spMk id="27" creationId="{61D618B3-BD12-3CB1-03EC-F35439F108B5}"/>
          </ac:spMkLst>
        </pc:spChg>
        <pc:spChg chg="add mod">
          <ac:chgData name="Celine Rose Nicole Choukair" userId="99fb0bcb-3137-4cd1-9e2c-4b0bf91b42b5" providerId="ADAL" clId="{16AD05A4-D6B8-CF42-9834-DA2A8857BD70}" dt="2022-05-22T22:15:02.906" v="4975" actId="408"/>
          <ac:spMkLst>
            <pc:docMk/>
            <pc:sldMk cId="1219914467" sldId="2145709220"/>
            <ac:spMk id="28" creationId="{D9DFF53E-8597-A5E9-456D-5F1CA59AE349}"/>
          </ac:spMkLst>
        </pc:spChg>
        <pc:grpChg chg="add del mod">
          <ac:chgData name="Celine Rose Nicole Choukair" userId="99fb0bcb-3137-4cd1-9e2c-4b0bf91b42b5" providerId="ADAL" clId="{16AD05A4-D6B8-CF42-9834-DA2A8857BD70}" dt="2022-05-22T22:12:10.733" v="4866" actId="165"/>
          <ac:grpSpMkLst>
            <pc:docMk/>
            <pc:sldMk cId="1219914467" sldId="2145709220"/>
            <ac:grpSpMk id="13" creationId="{A81B8814-0C22-FE9B-FD4B-74E80D284BDC}"/>
          </ac:grpSpMkLst>
        </pc:grpChg>
        <pc:grpChg chg="add mod">
          <ac:chgData name="Celine Rose Nicole Choukair" userId="99fb0bcb-3137-4cd1-9e2c-4b0bf91b42b5" providerId="ADAL" clId="{16AD05A4-D6B8-CF42-9834-DA2A8857BD70}" dt="2022-05-22T22:12:55.763" v="4882" actId="408"/>
          <ac:grpSpMkLst>
            <pc:docMk/>
            <pc:sldMk cId="1219914467" sldId="2145709220"/>
            <ac:grpSpMk id="23" creationId="{3D29EC30-7FE1-46D1-CC20-E21A71BB5F0A}"/>
          </ac:grpSpMkLst>
        </pc:grpChg>
        <pc:picChg chg="add del mod">
          <ac:chgData name="Celine Rose Nicole Choukair" userId="99fb0bcb-3137-4cd1-9e2c-4b0bf91b42b5" providerId="ADAL" clId="{16AD05A4-D6B8-CF42-9834-DA2A8857BD70}" dt="2022-05-22T22:12:55.763" v="4882" actId="408"/>
          <ac:picMkLst>
            <pc:docMk/>
            <pc:sldMk cId="1219914467" sldId="2145709220"/>
            <ac:picMk id="7" creationId="{15140129-4262-A95D-CF00-8B7ED4C51653}"/>
          </ac:picMkLst>
        </pc:picChg>
        <pc:picChg chg="add del mod modCrop">
          <ac:chgData name="Celine Rose Nicole Choukair" userId="99fb0bcb-3137-4cd1-9e2c-4b0bf91b42b5" providerId="ADAL" clId="{16AD05A4-D6B8-CF42-9834-DA2A8857BD70}" dt="2022-05-22T22:13:03.093" v="4897" actId="1036"/>
          <ac:picMkLst>
            <pc:docMk/>
            <pc:sldMk cId="1219914467" sldId="2145709220"/>
            <ac:picMk id="10" creationId="{0B6489BB-CF9D-2842-0C5C-E158CBDB8BD9}"/>
          </ac:picMkLst>
        </pc:picChg>
        <pc:picChg chg="mod topLvl modCrop">
          <ac:chgData name="Celine Rose Nicole Choukair" userId="99fb0bcb-3137-4cd1-9e2c-4b0bf91b42b5" providerId="ADAL" clId="{16AD05A4-D6B8-CF42-9834-DA2A8857BD70}" dt="2022-05-22T22:12:34.479" v="4871"/>
          <ac:picMkLst>
            <pc:docMk/>
            <pc:sldMk cId="1219914467" sldId="2145709220"/>
            <ac:picMk id="14" creationId="{1E72E806-6303-5B8F-95F4-FFB0E2F2578F}"/>
          </ac:picMkLst>
        </pc:picChg>
        <pc:picChg chg="mod topLvl">
          <ac:chgData name="Celine Rose Nicole Choukair" userId="99fb0bcb-3137-4cd1-9e2c-4b0bf91b42b5" providerId="ADAL" clId="{16AD05A4-D6B8-CF42-9834-DA2A8857BD70}" dt="2022-05-22T22:12:34.479" v="4871"/>
          <ac:picMkLst>
            <pc:docMk/>
            <pc:sldMk cId="1219914467" sldId="2145709220"/>
            <ac:picMk id="20" creationId="{6EFDFEFA-FBD3-317B-3599-8D81E9B58FFB}"/>
          </ac:picMkLst>
        </pc:picChg>
      </pc:sldChg>
      <pc:sldMasterChg chg="delSldLayout">
        <pc:chgData name="Celine Rose Nicole Choukair" userId="99fb0bcb-3137-4cd1-9e2c-4b0bf91b42b5" providerId="ADAL" clId="{16AD05A4-D6B8-CF42-9834-DA2A8857BD70}" dt="2022-05-22T22:13:07.550" v="4898" actId="2696"/>
        <pc:sldMasterMkLst>
          <pc:docMk/>
          <pc:sldMasterMk cId="3373036675" sldId="2147483714"/>
        </pc:sldMasterMkLst>
        <pc:sldLayoutChg chg="del">
          <pc:chgData name="Celine Rose Nicole Choukair" userId="99fb0bcb-3137-4cd1-9e2c-4b0bf91b42b5" providerId="ADAL" clId="{16AD05A4-D6B8-CF42-9834-DA2A8857BD70}" dt="2022-05-19T09:47:33.848" v="110" actId="2696"/>
          <pc:sldLayoutMkLst>
            <pc:docMk/>
            <pc:sldMasterMk cId="3373036675" sldId="2147483714"/>
            <pc:sldLayoutMk cId="1732507228" sldId="2147483725"/>
          </pc:sldLayoutMkLst>
        </pc:sldLayoutChg>
        <pc:sldLayoutChg chg="del">
          <pc:chgData name="Celine Rose Nicole Choukair" userId="99fb0bcb-3137-4cd1-9e2c-4b0bf91b42b5" providerId="ADAL" clId="{16AD05A4-D6B8-CF42-9834-DA2A8857BD70}" dt="2022-05-22T22:13:07.550" v="4898" actId="2696"/>
          <pc:sldLayoutMkLst>
            <pc:docMk/>
            <pc:sldMasterMk cId="3373036675" sldId="2147483714"/>
            <pc:sldLayoutMk cId="3419526622" sldId="2147483725"/>
          </pc:sldLayoutMkLst>
        </pc:sldLayoutChg>
      </pc:sldMasterChg>
    </pc:docChg>
  </pc:docChgLst>
  <pc:docChgLst>
    <pc:chgData name="joridajolla180" userId="S::joridajolla180_gmail.com#ext#@mailunimannheimde.onmicrosoft.com::dace882e-0148-4bb1-bfff-9dc4f0db296e" providerId="AD" clId="Web-{93BB72A7-9ABF-4FBD-98E5-5D4B85C05F25}"/>
    <pc:docChg chg="modSld">
      <pc:chgData name="joridajolla180" userId="S::joridajolla180_gmail.com#ext#@mailunimannheimde.onmicrosoft.com::dace882e-0148-4bb1-bfff-9dc4f0db296e" providerId="AD" clId="Web-{93BB72A7-9ABF-4FBD-98E5-5D4B85C05F25}" dt="2022-05-30T12:55:03.237" v="2" actId="20577"/>
      <pc:docMkLst>
        <pc:docMk/>
      </pc:docMkLst>
      <pc:sldChg chg="modSp">
        <pc:chgData name="joridajolla180" userId="S::joridajolla180_gmail.com#ext#@mailunimannheimde.onmicrosoft.com::dace882e-0148-4bb1-bfff-9dc4f0db296e" providerId="AD" clId="Web-{93BB72A7-9ABF-4FBD-98E5-5D4B85C05F25}" dt="2022-05-30T12:55:03.237" v="2" actId="20577"/>
        <pc:sldMkLst>
          <pc:docMk/>
          <pc:sldMk cId="426641346" sldId="2145709228"/>
        </pc:sldMkLst>
        <pc:spChg chg="mod">
          <ac:chgData name="joridajolla180" userId="S::joridajolla180_gmail.com#ext#@mailunimannheimde.onmicrosoft.com::dace882e-0148-4bb1-bfff-9dc4f0db296e" providerId="AD" clId="Web-{93BB72A7-9ABF-4FBD-98E5-5D4B85C05F25}" dt="2022-05-30T12:55:03.237" v="2" actId="20577"/>
          <ac:spMkLst>
            <pc:docMk/>
            <pc:sldMk cId="426641346" sldId="2145709228"/>
            <ac:spMk id="33" creationId="{A9B4A9F2-1A93-1CFC-48B1-9C2C3367559F}"/>
          </ac:spMkLst>
        </pc:spChg>
      </pc:sldChg>
    </pc:docChg>
  </pc:docChgLst>
  <pc:docChgLst>
    <pc:chgData name="Christel Ashdjian" userId="S::cashdjia@students365.uni-mannheim.de::015011ea-3d08-468d-8837-6ae2630f64d1" providerId="AD" clId="Web-{A824AB72-68CC-4569-94F1-64ABC8127C87}"/>
    <pc:docChg chg="modSld">
      <pc:chgData name="Christel Ashdjian" userId="S::cashdjia@students365.uni-mannheim.de::015011ea-3d08-468d-8837-6ae2630f64d1" providerId="AD" clId="Web-{A824AB72-68CC-4569-94F1-64ABC8127C87}" dt="2022-05-19T15:38:16.183" v="27"/>
      <pc:docMkLst>
        <pc:docMk/>
      </pc:docMkLst>
      <pc:sldChg chg="modNotes">
        <pc:chgData name="Christel Ashdjian" userId="S::cashdjia@students365.uni-mannheim.de::015011ea-3d08-468d-8837-6ae2630f64d1" providerId="AD" clId="Web-{A824AB72-68CC-4569-94F1-64ABC8127C87}" dt="2022-05-19T15:38:16.183" v="27"/>
        <pc:sldMkLst>
          <pc:docMk/>
          <pc:sldMk cId="1207596309" sldId="2145709204"/>
        </pc:sldMkLst>
      </pc:sldChg>
    </pc:docChg>
  </pc:docChgLst>
  <pc:docChgLst>
    <pc:chgData name="Christel Ashdjian" userId="S::cashdjia@students365.uni-mannheim.de::015011ea-3d08-468d-8837-6ae2630f64d1" providerId="AD" clId="Web-{65036616-B349-4B27-B030-9DA6EB3B1ECA}"/>
    <pc:docChg chg="addSld modSld">
      <pc:chgData name="Christel Ashdjian" userId="S::cashdjia@students365.uni-mannheim.de::015011ea-3d08-468d-8837-6ae2630f64d1" providerId="AD" clId="Web-{65036616-B349-4B27-B030-9DA6EB3B1ECA}" dt="2022-05-22T22:04:29.437" v="13" actId="1076"/>
      <pc:docMkLst>
        <pc:docMk/>
      </pc:docMkLst>
      <pc:sldChg chg="addSp delSp modSp">
        <pc:chgData name="Christel Ashdjian" userId="S::cashdjia@students365.uni-mannheim.de::015011ea-3d08-468d-8837-6ae2630f64d1" providerId="AD" clId="Web-{65036616-B349-4B27-B030-9DA6EB3B1ECA}" dt="2022-05-22T22:02:21.249" v="2"/>
        <pc:sldMkLst>
          <pc:docMk/>
          <pc:sldMk cId="470963429" sldId="2145709219"/>
        </pc:sldMkLst>
        <pc:picChg chg="add del mod">
          <ac:chgData name="Christel Ashdjian" userId="S::cashdjia@students365.uni-mannheim.de::015011ea-3d08-468d-8837-6ae2630f64d1" providerId="AD" clId="Web-{65036616-B349-4B27-B030-9DA6EB3B1ECA}" dt="2022-05-22T22:02:21.249" v="2"/>
          <ac:picMkLst>
            <pc:docMk/>
            <pc:sldMk cId="470963429" sldId="2145709219"/>
            <ac:picMk id="5" creationId="{2D0D41A6-40BA-6F51-E816-8DB0C25E21AB}"/>
          </ac:picMkLst>
        </pc:picChg>
      </pc:sldChg>
      <pc:sldChg chg="addSp delSp modSp new">
        <pc:chgData name="Christel Ashdjian" userId="S::cashdjia@students365.uni-mannheim.de::015011ea-3d08-468d-8837-6ae2630f64d1" providerId="AD" clId="Web-{65036616-B349-4B27-B030-9DA6EB3B1ECA}" dt="2022-05-22T22:04:29.437" v="13" actId="1076"/>
        <pc:sldMkLst>
          <pc:docMk/>
          <pc:sldMk cId="1219914467" sldId="2145709220"/>
        </pc:sldMkLst>
        <pc:spChg chg="del">
          <ac:chgData name="Christel Ashdjian" userId="S::cashdjia@students365.uni-mannheim.de::015011ea-3d08-468d-8837-6ae2630f64d1" providerId="AD" clId="Web-{65036616-B349-4B27-B030-9DA6EB3B1ECA}" dt="2022-05-22T22:03:00.876" v="4"/>
          <ac:spMkLst>
            <pc:docMk/>
            <pc:sldMk cId="1219914467" sldId="2145709220"/>
            <ac:spMk id="2" creationId="{9872679A-1E58-8CB2-937F-3B7C8D61EF35}"/>
          </ac:spMkLst>
        </pc:spChg>
        <pc:spChg chg="del">
          <ac:chgData name="Christel Ashdjian" userId="S::cashdjia@students365.uni-mannheim.de::015011ea-3d08-468d-8837-6ae2630f64d1" providerId="AD" clId="Web-{65036616-B349-4B27-B030-9DA6EB3B1ECA}" dt="2022-05-22T22:04:14.834" v="10"/>
          <ac:spMkLst>
            <pc:docMk/>
            <pc:sldMk cId="1219914467" sldId="2145709220"/>
            <ac:spMk id="5" creationId="{7E93B1D3-E2A7-279E-5098-90F1EB192ED6}"/>
          </ac:spMkLst>
        </pc:spChg>
        <pc:picChg chg="add mod ord">
          <ac:chgData name="Christel Ashdjian" userId="S::cashdjia@students365.uni-mannheim.de::015011ea-3d08-468d-8837-6ae2630f64d1" providerId="AD" clId="Web-{65036616-B349-4B27-B030-9DA6EB3B1ECA}" dt="2022-05-22T22:03:10.002" v="9" actId="1076"/>
          <ac:picMkLst>
            <pc:docMk/>
            <pc:sldMk cId="1219914467" sldId="2145709220"/>
            <ac:picMk id="7" creationId="{15140129-4262-A95D-CF00-8B7ED4C51653}"/>
          </ac:picMkLst>
        </pc:picChg>
        <pc:picChg chg="add mod ord">
          <ac:chgData name="Christel Ashdjian" userId="S::cashdjia@students365.uni-mannheim.de::015011ea-3d08-468d-8837-6ae2630f64d1" providerId="AD" clId="Web-{65036616-B349-4B27-B030-9DA6EB3B1ECA}" dt="2022-05-22T22:04:29.437" v="13" actId="1076"/>
          <ac:picMkLst>
            <pc:docMk/>
            <pc:sldMk cId="1219914467" sldId="2145709220"/>
            <ac:picMk id="10" creationId="{0B6489BB-CF9D-2842-0C5C-E158CBDB8BD9}"/>
          </ac:picMkLst>
        </pc:picChg>
      </pc:sldChg>
    </pc:docChg>
  </pc:docChgLst>
  <pc:docChgLst>
    <pc:chgData name="Christel Ashdjian" userId="S::cashdjia@students365.uni-mannheim.de::015011ea-3d08-468d-8837-6ae2630f64d1" providerId="AD" clId="Web-{1142952A-7E9D-4EA1-A391-2E23CF76EFB7}"/>
    <pc:docChg chg="modSld">
      <pc:chgData name="Christel Ashdjian" userId="S::cashdjia@students365.uni-mannheim.de::015011ea-3d08-468d-8837-6ae2630f64d1" providerId="AD" clId="Web-{1142952A-7E9D-4EA1-A391-2E23CF76EFB7}" dt="2022-05-19T15:51:25.267" v="19"/>
      <pc:docMkLst>
        <pc:docMk/>
      </pc:docMkLst>
      <pc:sldChg chg="modNotes">
        <pc:chgData name="Christel Ashdjian" userId="S::cashdjia@students365.uni-mannheim.de::015011ea-3d08-468d-8837-6ae2630f64d1" providerId="AD" clId="Web-{1142952A-7E9D-4EA1-A391-2E23CF76EFB7}" dt="2022-05-19T15:51:25.267" v="19"/>
        <pc:sldMkLst>
          <pc:docMk/>
          <pc:sldMk cId="1207596309" sldId="2145709204"/>
        </pc:sldMkLst>
      </pc:sldChg>
    </pc:docChg>
  </pc:docChgLst>
  <pc:docChgLst>
    <pc:chgData name="Christel Ashdjian" userId="S::cashdjia@students365.uni-mannheim.de::015011ea-3d08-468d-8837-6ae2630f64d1" providerId="AD" clId="Web-{592DC38B-218B-49D2-97B2-AD66E0F9355F}"/>
    <pc:docChg chg="modSld">
      <pc:chgData name="Christel Ashdjian" userId="S::cashdjia@students365.uni-mannheim.de::015011ea-3d08-468d-8837-6ae2630f64d1" providerId="AD" clId="Web-{592DC38B-218B-49D2-97B2-AD66E0F9355F}" dt="2022-05-19T22:46:58.302" v="0" actId="1076"/>
      <pc:docMkLst>
        <pc:docMk/>
      </pc:docMkLst>
      <pc:sldChg chg="modSp">
        <pc:chgData name="Christel Ashdjian" userId="S::cashdjia@students365.uni-mannheim.de::015011ea-3d08-468d-8837-6ae2630f64d1" providerId="AD" clId="Web-{592DC38B-218B-49D2-97B2-AD66E0F9355F}" dt="2022-05-19T22:46:58.302" v="0" actId="1076"/>
        <pc:sldMkLst>
          <pc:docMk/>
          <pc:sldMk cId="3000357544" sldId="2145709192"/>
        </pc:sldMkLst>
        <pc:grpChg chg="mod">
          <ac:chgData name="Christel Ashdjian" userId="S::cashdjia@students365.uni-mannheim.de::015011ea-3d08-468d-8837-6ae2630f64d1" providerId="AD" clId="Web-{592DC38B-218B-49D2-97B2-AD66E0F9355F}" dt="2022-05-19T22:46:58.302" v="0" actId="1076"/>
          <ac:grpSpMkLst>
            <pc:docMk/>
            <pc:sldMk cId="3000357544" sldId="2145709192"/>
            <ac:grpSpMk id="48" creationId="{47248755-566C-0936-B38C-F2D400E78831}"/>
          </ac:grpSpMkLst>
        </pc:gr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66AD7255-09BD-B24C-8398-7DAA21195149}" type="datetimeFigureOut">
              <a:rPr lang="en-US" smtClean="0"/>
              <a:pPr/>
              <a:t>5/3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A9B0674B-F728-634F-A847-EF846CD08C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0843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606D8F5-B0EF-4CB0-9F47-064DCF6EE41A}" type="datetimeFigureOut">
              <a:rPr lang="en-US" smtClean="0"/>
              <a:pPr/>
              <a:t>5/30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B101C97-03FE-428F-B2FD-C5D641DA75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717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252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263" algn="l" defTabSz="104252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2526" algn="l" defTabSz="104252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3791" algn="l" defTabSz="104252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5055" algn="l" defTabSz="104252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6319" algn="l" defTabSz="104252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7580" algn="l" defTabSz="104252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8845" algn="l" defTabSz="104252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0111" algn="l" defTabSz="104252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1C97-03FE-428F-B2FD-C5D641DA756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7959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1C97-03FE-428F-B2FD-C5D641DA756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259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1C97-03FE-428F-B2FD-C5D641DA756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0738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1C97-03FE-428F-B2FD-C5D641DA756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041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1C97-03FE-428F-B2FD-C5D641DA756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709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1C97-03FE-428F-B2FD-C5D641DA756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6298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1C97-03FE-428F-B2FD-C5D641DA756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0756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1C97-03FE-428F-B2FD-C5D641DA7567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323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EE19E473-B6CB-C64A-83E7-5E6FE4016C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708"/>
          <a:stretch/>
        </p:blipFill>
        <p:spPr>
          <a:xfrm>
            <a:off x="0" y="0"/>
            <a:ext cx="13447713" cy="7564438"/>
          </a:xfrm>
          <a:prstGeom prst="rect">
            <a:avLst/>
          </a:prstGeom>
        </p:spPr>
      </p:pic>
      <p:sp>
        <p:nvSpPr>
          <p:cNvPr id="20" name="Rechteck 3">
            <a:extLst>
              <a:ext uri="{FF2B5EF4-FFF2-40B4-BE49-F238E27FC236}">
                <a16:creationId xmlns:a16="http://schemas.microsoft.com/office/drawing/2014/main" id="{77D04D05-F9E3-804D-B52A-8C50EE1928D2}"/>
              </a:ext>
            </a:extLst>
          </p:cNvPr>
          <p:cNvSpPr/>
          <p:nvPr userDrawn="1"/>
        </p:nvSpPr>
        <p:spPr>
          <a:xfrm>
            <a:off x="0" y="0"/>
            <a:ext cx="13447713" cy="756443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316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1C5D001-3D99-0940-B334-85C6FE3AFE9B}"/>
              </a:ext>
            </a:extLst>
          </p:cNvPr>
          <p:cNvSpPr/>
          <p:nvPr userDrawn="1"/>
        </p:nvSpPr>
        <p:spPr>
          <a:xfrm>
            <a:off x="747193" y="4"/>
            <a:ext cx="5434322" cy="7564437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100000"/>
                  <a:alpha val="10000"/>
                </a:schemeClr>
              </a:gs>
              <a:gs pos="66000">
                <a:srgbClr val="F68A97">
                  <a:lumMod val="70000"/>
                  <a:lumOff val="30000"/>
                  <a:alpha val="75000"/>
                </a:srgbClr>
              </a:gs>
              <a:gs pos="0">
                <a:srgbClr val="D30A2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cxnSp>
        <p:nvCxnSpPr>
          <p:cNvPr id="6" name="Gerader Verbinder 8"/>
          <p:cNvCxnSpPr/>
          <p:nvPr userDrawn="1"/>
        </p:nvCxnSpPr>
        <p:spPr>
          <a:xfrm>
            <a:off x="1018909" y="3085663"/>
            <a:ext cx="489089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B9AF9DF3-82ED-40F5-8AAD-05C2EC3E2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8911" y="2414299"/>
            <a:ext cx="4890888" cy="750420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960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2800" b="1" kern="0" dirty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</a:lstStyle>
          <a:p>
            <a:pPr marL="0" lvl="0" eaLnBrk="1" latinLnBrk="0" hangingPunct="1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/>
              <a:t>Titel</a:t>
            </a:r>
          </a:p>
        </p:txBody>
      </p:sp>
      <p:cxnSp>
        <p:nvCxnSpPr>
          <p:cNvPr id="22" name="Gerader Verbinder 8">
            <a:extLst>
              <a:ext uri="{FF2B5EF4-FFF2-40B4-BE49-F238E27FC236}">
                <a16:creationId xmlns:a16="http://schemas.microsoft.com/office/drawing/2014/main" id="{7B2F8968-DEBD-460B-9D82-C1A9BFCCDF0F}"/>
              </a:ext>
            </a:extLst>
          </p:cNvPr>
          <p:cNvCxnSpPr/>
          <p:nvPr userDrawn="1"/>
        </p:nvCxnSpPr>
        <p:spPr>
          <a:xfrm>
            <a:off x="1018911" y="3085663"/>
            <a:ext cx="489088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3156C4AA-7CD1-460F-A47C-8938FD0409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8911" y="3118266"/>
            <a:ext cx="4890888" cy="430887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960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2400" b="0" kern="0" dirty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</a:lstStyle>
          <a:p>
            <a:pPr marL="342721" lvl="0" indent="-342721" eaLnBrk="1" latinLnBrk="0" hangingPunct="1">
              <a:spcBef>
                <a:spcPct val="0"/>
              </a:spcBef>
              <a:buClr>
                <a:schemeClr val="folHlink"/>
              </a:buClr>
              <a:buSzPct val="75000"/>
            </a:pPr>
            <a:r>
              <a:rPr lang="de-DE"/>
              <a:t>Untertitel</a:t>
            </a:r>
          </a:p>
        </p:txBody>
      </p:sp>
      <p:sp>
        <p:nvSpPr>
          <p:cNvPr id="24" name="Textplatzhalter 13">
            <a:extLst>
              <a:ext uri="{FF2B5EF4-FFF2-40B4-BE49-F238E27FC236}">
                <a16:creationId xmlns:a16="http://schemas.microsoft.com/office/drawing/2014/main" id="{275C73B5-A59B-4836-9421-C7C26EDEB1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8911" y="3940448"/>
            <a:ext cx="4890888" cy="31698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960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 typeface="Arial" panose="020B0604020202020204" pitchFamily="34" charset="0"/>
              <a:buNone/>
              <a:defRPr lang="de-DE" sz="1800" b="0" kern="0" baseline="0" dirty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</a:lstStyle>
          <a:p>
            <a:pPr marL="342721" lvl="0" indent="-342721" eaLnBrk="1" latinLnBrk="0" hangingPunct="1">
              <a:spcBef>
                <a:spcPct val="0"/>
              </a:spcBef>
              <a:buClr>
                <a:schemeClr val="folHlink"/>
              </a:buClr>
              <a:buSzPct val="75000"/>
            </a:pPr>
            <a:r>
              <a:rPr lang="de-DE"/>
              <a:t>&lt;Monat 2016&gt;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E14EA9C-1933-0A44-A4E9-BE26F2B4075F}"/>
              </a:ext>
            </a:extLst>
          </p:cNvPr>
          <p:cNvSpPr/>
          <p:nvPr userDrawn="1"/>
        </p:nvSpPr>
        <p:spPr bwMode="auto">
          <a:xfrm>
            <a:off x="4275584" y="428728"/>
            <a:ext cx="1152000" cy="1152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5600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013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pic>
        <p:nvPicPr>
          <p:cNvPr id="73730" name="Picture 2">
            <a:extLst>
              <a:ext uri="{FF2B5EF4-FFF2-40B4-BE49-F238E27FC236}">
                <a16:creationId xmlns:a16="http://schemas.microsoft.com/office/drawing/2014/main" id="{E4DF9A38-8E51-5C45-A065-2C66926578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8911" y="674552"/>
            <a:ext cx="1045345" cy="66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988C4926-1ECC-7A46-AF22-F60B9E9043E6}"/>
              </a:ext>
            </a:extLst>
          </p:cNvPr>
          <p:cNvSpPr/>
          <p:nvPr userDrawn="1"/>
        </p:nvSpPr>
        <p:spPr bwMode="auto">
          <a:xfrm>
            <a:off x="1018910" y="428728"/>
            <a:ext cx="2843001" cy="1152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5600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013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pic>
        <p:nvPicPr>
          <p:cNvPr id="68612" name="Picture 4">
            <a:extLst>
              <a:ext uri="{FF2B5EF4-FFF2-40B4-BE49-F238E27FC236}">
                <a16:creationId xmlns:a16="http://schemas.microsoft.com/office/drawing/2014/main" id="{52E6EE61-39AE-0043-B944-603F848945B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376" y="633678"/>
            <a:ext cx="2628070" cy="742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12590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3">
            <a:extLst>
              <a:ext uri="{FF2B5EF4-FFF2-40B4-BE49-F238E27FC236}">
                <a16:creationId xmlns:a16="http://schemas.microsoft.com/office/drawing/2014/main" id="{379B5B46-4F92-E242-B37F-E96AC56F3022}"/>
              </a:ext>
            </a:extLst>
          </p:cNvPr>
          <p:cNvSpPr/>
          <p:nvPr userDrawn="1"/>
        </p:nvSpPr>
        <p:spPr>
          <a:xfrm>
            <a:off x="1960" y="0"/>
            <a:ext cx="13447713" cy="7564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316"/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ED18E267-A957-0846-9069-BB16DFA105B9}"/>
              </a:ext>
            </a:extLst>
          </p:cNvPr>
          <p:cNvSpPr/>
          <p:nvPr userDrawn="1"/>
        </p:nvSpPr>
        <p:spPr>
          <a:xfrm>
            <a:off x="747193" y="4"/>
            <a:ext cx="5434322" cy="7564437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100000"/>
                  <a:alpha val="10000"/>
                </a:schemeClr>
              </a:gs>
              <a:gs pos="66000">
                <a:srgbClr val="F68A97">
                  <a:lumMod val="70000"/>
                  <a:lumOff val="30000"/>
                  <a:alpha val="75000"/>
                </a:srgbClr>
              </a:gs>
              <a:gs pos="0">
                <a:srgbClr val="D30A2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cxnSp>
        <p:nvCxnSpPr>
          <p:cNvPr id="6" name="Gerader Verbinder 8"/>
          <p:cNvCxnSpPr/>
          <p:nvPr userDrawn="1"/>
        </p:nvCxnSpPr>
        <p:spPr>
          <a:xfrm>
            <a:off x="1018909" y="3085663"/>
            <a:ext cx="489089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B9AF9DF3-82ED-40F5-8AAD-05C2EC3E2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8911" y="2414299"/>
            <a:ext cx="4890888" cy="750420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960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2800" b="1" kern="0" dirty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</a:lstStyle>
          <a:p>
            <a:pPr marL="0" lvl="0" eaLnBrk="1" latinLnBrk="0" hangingPunct="1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/>
              <a:t>Titel</a:t>
            </a:r>
          </a:p>
        </p:txBody>
      </p:sp>
      <p:cxnSp>
        <p:nvCxnSpPr>
          <p:cNvPr id="22" name="Gerader Verbinder 8">
            <a:extLst>
              <a:ext uri="{FF2B5EF4-FFF2-40B4-BE49-F238E27FC236}">
                <a16:creationId xmlns:a16="http://schemas.microsoft.com/office/drawing/2014/main" id="{7B2F8968-DEBD-460B-9D82-C1A9BFCCDF0F}"/>
              </a:ext>
            </a:extLst>
          </p:cNvPr>
          <p:cNvCxnSpPr/>
          <p:nvPr userDrawn="1"/>
        </p:nvCxnSpPr>
        <p:spPr>
          <a:xfrm>
            <a:off x="1018911" y="3085663"/>
            <a:ext cx="489088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3156C4AA-7CD1-460F-A47C-8938FD0409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8911" y="3118266"/>
            <a:ext cx="4890888" cy="430887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960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2400" b="0" kern="0" dirty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</a:lstStyle>
          <a:p>
            <a:pPr marL="342721" lvl="0" indent="-342721" eaLnBrk="1" latinLnBrk="0" hangingPunct="1">
              <a:spcBef>
                <a:spcPct val="0"/>
              </a:spcBef>
              <a:buClr>
                <a:schemeClr val="folHlink"/>
              </a:buClr>
              <a:buSzPct val="75000"/>
            </a:pPr>
            <a:r>
              <a:rPr lang="de-DE"/>
              <a:t>Untertitel</a:t>
            </a:r>
          </a:p>
        </p:txBody>
      </p:sp>
      <p:sp>
        <p:nvSpPr>
          <p:cNvPr id="24" name="Textplatzhalter 13">
            <a:extLst>
              <a:ext uri="{FF2B5EF4-FFF2-40B4-BE49-F238E27FC236}">
                <a16:creationId xmlns:a16="http://schemas.microsoft.com/office/drawing/2014/main" id="{275C73B5-A59B-4836-9421-C7C26EDEB1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8911" y="3940448"/>
            <a:ext cx="4890888" cy="31698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960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 typeface="Arial" panose="020B0604020202020204" pitchFamily="34" charset="0"/>
              <a:buNone/>
              <a:defRPr lang="de-DE" sz="1800" b="0" kern="0" baseline="0" dirty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</a:lstStyle>
          <a:p>
            <a:pPr marL="342721" lvl="0" indent="-342721" eaLnBrk="1" latinLnBrk="0" hangingPunct="1">
              <a:spcBef>
                <a:spcPct val="0"/>
              </a:spcBef>
              <a:buClr>
                <a:schemeClr val="folHlink"/>
              </a:buClr>
              <a:buSzPct val="75000"/>
            </a:pPr>
            <a:r>
              <a:rPr lang="de-DE"/>
              <a:t>&lt;Monat 2016&gt;</a:t>
            </a:r>
          </a:p>
        </p:txBody>
      </p:sp>
    </p:spTree>
    <p:extLst>
      <p:ext uri="{BB962C8B-B14F-4D97-AF65-F5344CB8AC3E}">
        <p14:creationId xmlns:p14="http://schemas.microsoft.com/office/powerpoint/2010/main" val="4014911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3">
            <a:extLst>
              <a:ext uri="{FF2B5EF4-FFF2-40B4-BE49-F238E27FC236}">
                <a16:creationId xmlns:a16="http://schemas.microsoft.com/office/drawing/2014/main" id="{27362136-3427-6E43-9BD9-1081E48D42F6}"/>
              </a:ext>
            </a:extLst>
          </p:cNvPr>
          <p:cNvSpPr/>
          <p:nvPr userDrawn="1"/>
        </p:nvSpPr>
        <p:spPr>
          <a:xfrm>
            <a:off x="1960" y="0"/>
            <a:ext cx="13447713" cy="7564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316"/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5ECA78D8-6B2A-4540-91B6-DD5D9FD032A2}"/>
              </a:ext>
            </a:extLst>
          </p:cNvPr>
          <p:cNvSpPr/>
          <p:nvPr userDrawn="1"/>
        </p:nvSpPr>
        <p:spPr>
          <a:xfrm>
            <a:off x="747193" y="4"/>
            <a:ext cx="5434322" cy="7564437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100000"/>
                  <a:alpha val="10000"/>
                </a:schemeClr>
              </a:gs>
              <a:gs pos="66000">
                <a:srgbClr val="F68A97">
                  <a:lumMod val="70000"/>
                  <a:lumOff val="30000"/>
                  <a:alpha val="75000"/>
                </a:srgbClr>
              </a:gs>
              <a:gs pos="0">
                <a:srgbClr val="D30A2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cxnSp>
        <p:nvCxnSpPr>
          <p:cNvPr id="6" name="Gerader Verbinder 8"/>
          <p:cNvCxnSpPr/>
          <p:nvPr userDrawn="1"/>
        </p:nvCxnSpPr>
        <p:spPr>
          <a:xfrm>
            <a:off x="1018909" y="3085663"/>
            <a:ext cx="489089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B9AF9DF3-82ED-40F5-8AAD-05C2EC3E2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8911" y="2414299"/>
            <a:ext cx="4890888" cy="750420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960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2800" b="1" kern="0" dirty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</a:lstStyle>
          <a:p>
            <a:pPr marL="0" lvl="0" eaLnBrk="1" latinLnBrk="0" hangingPunct="1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/>
              <a:t>Titel</a:t>
            </a:r>
          </a:p>
        </p:txBody>
      </p:sp>
      <p:cxnSp>
        <p:nvCxnSpPr>
          <p:cNvPr id="22" name="Gerader Verbinder 8">
            <a:extLst>
              <a:ext uri="{FF2B5EF4-FFF2-40B4-BE49-F238E27FC236}">
                <a16:creationId xmlns:a16="http://schemas.microsoft.com/office/drawing/2014/main" id="{7B2F8968-DEBD-460B-9D82-C1A9BFCCDF0F}"/>
              </a:ext>
            </a:extLst>
          </p:cNvPr>
          <p:cNvCxnSpPr/>
          <p:nvPr userDrawn="1"/>
        </p:nvCxnSpPr>
        <p:spPr>
          <a:xfrm>
            <a:off x="1018911" y="3085663"/>
            <a:ext cx="489088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3156C4AA-7CD1-460F-A47C-8938FD0409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8911" y="3118266"/>
            <a:ext cx="4890888" cy="430887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960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2400" b="0" kern="0" dirty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</a:lstStyle>
          <a:p>
            <a:pPr marL="342721" lvl="0" indent="-342721" eaLnBrk="1" latinLnBrk="0" hangingPunct="1">
              <a:spcBef>
                <a:spcPct val="0"/>
              </a:spcBef>
              <a:buClr>
                <a:schemeClr val="folHlink"/>
              </a:buClr>
              <a:buSzPct val="75000"/>
            </a:pPr>
            <a:r>
              <a:rPr lang="de-DE"/>
              <a:t>Untertitel</a:t>
            </a:r>
          </a:p>
        </p:txBody>
      </p:sp>
      <p:sp>
        <p:nvSpPr>
          <p:cNvPr id="24" name="Textplatzhalter 13">
            <a:extLst>
              <a:ext uri="{FF2B5EF4-FFF2-40B4-BE49-F238E27FC236}">
                <a16:creationId xmlns:a16="http://schemas.microsoft.com/office/drawing/2014/main" id="{275C73B5-A59B-4836-9421-C7C26EDEB1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8911" y="3940448"/>
            <a:ext cx="4890888" cy="31698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960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 typeface="Arial" panose="020B0604020202020204" pitchFamily="34" charset="0"/>
              <a:buNone/>
              <a:defRPr lang="de-DE" sz="1800" b="0" kern="0" baseline="0" dirty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</a:lstStyle>
          <a:p>
            <a:pPr marL="342721" lvl="0" indent="-342721" eaLnBrk="1" latinLnBrk="0" hangingPunct="1">
              <a:spcBef>
                <a:spcPct val="0"/>
              </a:spcBef>
              <a:buClr>
                <a:schemeClr val="folHlink"/>
              </a:buClr>
              <a:buSzPct val="75000"/>
            </a:pPr>
            <a:r>
              <a:rPr lang="de-DE"/>
              <a:t>&lt;Monat 2016&gt;</a:t>
            </a:r>
          </a:p>
        </p:txBody>
      </p:sp>
    </p:spTree>
    <p:extLst>
      <p:ext uri="{BB962C8B-B14F-4D97-AF65-F5344CB8AC3E}">
        <p14:creationId xmlns:p14="http://schemas.microsoft.com/office/powerpoint/2010/main" val="9106981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611895" y="499668"/>
            <a:ext cx="12227224" cy="6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0" tIns="3960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94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buNone/>
              <a:tabLst/>
              <a:defRPr lang="en-GB" sz="2000" b="1" kern="0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94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buNone/>
              <a:tabLst/>
              <a:defRPr/>
            </a:pPr>
            <a:r>
              <a:rPr lang="de-DE" noProof="0"/>
              <a:t>Action-Title</a:t>
            </a:r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2" y="1596"/>
          <a:ext cx="199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2" y="1596"/>
                        <a:ext cx="199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84073" y="447268"/>
            <a:ext cx="588718" cy="72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  <a:noAutofit/>
          </a:bodyPr>
          <a:lstStyle>
            <a:lvl1pPr algn="r" defTabSz="1327217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  <a:defRPr lang="en-US" sz="3599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99536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3599" b="1" noProof="0">
                <a:solidFill>
                  <a:schemeClr val="accent5"/>
                </a:solidFill>
              </a:rPr>
              <a:t>1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611899" y="293177"/>
            <a:ext cx="12100423" cy="32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GB" sz="1400" b="0" kern="0" dirty="0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latinLnBrk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noProof="0"/>
              <a:t>HEAD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611899" y="6846506"/>
            <a:ext cx="12100423" cy="246221"/>
          </a:xfrm>
          <a:prstGeom prst="rect">
            <a:avLst/>
          </a:prstGeom>
        </p:spPr>
        <p:txBody>
          <a:bodyPr wrap="square" lIns="0" rtlCol="0">
            <a:spAutoFit/>
          </a:bodyPr>
          <a:lstStyle>
            <a:lvl1pPr marL="342721" indent="-342721">
              <a:buNone/>
              <a:defRPr lang="en-GB" sz="10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1042479" eaLnBrk="1" latinLnBrk="0" hangingPunct="1"/>
            <a:r>
              <a:rPr lang="de-DE" noProof="0"/>
              <a:t>Quelle:</a:t>
            </a:r>
          </a:p>
        </p:txBody>
      </p:sp>
      <p:sp>
        <p:nvSpPr>
          <p:cNvPr id="11" name="Datumsplatzhalter 2">
            <a:extLst>
              <a:ext uri="{FF2B5EF4-FFF2-40B4-BE49-F238E27FC236}">
                <a16:creationId xmlns:a16="http://schemas.microsoft.com/office/drawing/2014/main" id="{9F6035E1-9AB8-47EA-B410-18EDC69496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9201" y="7168438"/>
            <a:ext cx="4675860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/>
              <a:t>Kick-Off</a:t>
            </a:r>
          </a:p>
        </p:txBody>
      </p:sp>
    </p:spTree>
    <p:extLst>
      <p:ext uri="{BB962C8B-B14F-4D97-AF65-F5344CB8AC3E}">
        <p14:creationId xmlns:p14="http://schemas.microsoft.com/office/powerpoint/2010/main" val="1850579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pos="42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72385" y="9192186"/>
            <a:ext cx="3137800" cy="4027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447713" cy="75644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83"/>
          </a:p>
        </p:txBody>
      </p:sp>
    </p:spTree>
    <p:extLst>
      <p:ext uri="{BB962C8B-B14F-4D97-AF65-F5344CB8AC3E}">
        <p14:creationId xmlns:p14="http://schemas.microsoft.com/office/powerpoint/2010/main" val="365211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hal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5C0CC84-C4EF-4CD5-AF04-2D9A2C305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290279"/>
              </p:ext>
            </p:extLst>
          </p:nvPr>
        </p:nvGraphicFramePr>
        <p:xfrm>
          <a:off x="1580" y="1589"/>
          <a:ext cx="1577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5C0CC84-C4EF-4CD5-AF04-2D9A2C305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0" y="1589"/>
                        <a:ext cx="1577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26">
            <a:extLst>
              <a:ext uri="{FF2B5EF4-FFF2-40B4-BE49-F238E27FC236}">
                <a16:creationId xmlns:a16="http://schemas.microsoft.com/office/drawing/2014/main" id="{86B623E9-49BB-4FAC-BAFB-16618AB992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3468" y="324041"/>
            <a:ext cx="6399595" cy="360227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>
              <a:spcBef>
                <a:spcPts val="0"/>
              </a:spcBef>
              <a:defRPr sz="1598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8" name="Titelplatzhalter 9">
            <a:extLst>
              <a:ext uri="{FF2B5EF4-FFF2-40B4-BE49-F238E27FC236}">
                <a16:creationId xmlns:a16="http://schemas.microsoft.com/office/drawing/2014/main" id="{4BBEFC4F-E492-47B9-BC7E-3FC9DB8C7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468" y="612223"/>
            <a:ext cx="12800777" cy="792012"/>
          </a:xfrm>
          <a:prstGeom prst="rect">
            <a:avLst/>
          </a:prstGeom>
        </p:spPr>
        <p:txBody>
          <a:bodyPr vert="horz" lIns="0" rIns="0"/>
          <a:lstStyle/>
          <a:p>
            <a:pPr marL="0" lvl="0" latinLnBrk="0"/>
            <a:r>
              <a:rPr lang="de-DE"/>
              <a:t>Action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59EE7390-E37D-4DEA-8B0D-B08BA7B9E3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3468" y="7132166"/>
            <a:ext cx="431491" cy="360227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199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ußzeilenplatzhalter 27">
            <a:extLst>
              <a:ext uri="{FF2B5EF4-FFF2-40B4-BE49-F238E27FC236}">
                <a16:creationId xmlns:a16="http://schemas.microsoft.com/office/drawing/2014/main" id="{573FFDF1-FE63-4746-A42B-8ABD568CC5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4959" y="7132166"/>
            <a:ext cx="4674482" cy="36022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199">
                <a:solidFill>
                  <a:schemeClr val="tx1"/>
                </a:solidFill>
              </a:defRPr>
            </a:lvl1pPr>
          </a:lstStyle>
          <a:p>
            <a:r>
              <a:rPr lang="de-DE"/>
              <a:t> | </a:t>
            </a:r>
          </a:p>
        </p:txBody>
      </p:sp>
    </p:spTree>
    <p:extLst>
      <p:ext uri="{BB962C8B-B14F-4D97-AF65-F5344CB8AC3E}">
        <p14:creationId xmlns:p14="http://schemas.microsoft.com/office/powerpoint/2010/main" val="11031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 userDrawn="1">
          <p15:clr>
            <a:srgbClr val="FBAE40"/>
          </p15:clr>
        </p15:guide>
        <p15:guide id="2" pos="423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2" y="1596"/>
          <a:ext cx="199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2" y="1596"/>
                        <a:ext cx="199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4529BE-9F7D-4C20-8C22-A0567FF5F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59973" y="2054099"/>
            <a:ext cx="4006850" cy="4319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Kick-Off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4D92510-91C7-4321-BD14-248213D428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59975" y="949841"/>
            <a:ext cx="4500386" cy="6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de-DE"/>
              <a:t>Agend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182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 userDrawn="1">
          <p15:clr>
            <a:srgbClr val="FBAE40"/>
          </p15:clr>
        </p15:guide>
        <p15:guide id="2" pos="423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2" y="1596"/>
          <a:ext cx="199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2" y="1596"/>
                        <a:ext cx="199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4529BE-9F7D-4C20-8C22-A0567FF5F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59973" y="2054099"/>
            <a:ext cx="4006850" cy="4319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Kick-Off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4D92510-91C7-4321-BD14-248213D428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59975" y="949841"/>
            <a:ext cx="4500386" cy="6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de-DE"/>
              <a:t>Agend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208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pos="423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2" y="1596"/>
          <a:ext cx="199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2" y="1596"/>
                        <a:ext cx="199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4529BE-9F7D-4C20-8C22-A0567FF5F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59973" y="2054099"/>
            <a:ext cx="4006850" cy="4319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Kick-Off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4D92510-91C7-4321-BD14-248213D428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59975" y="949841"/>
            <a:ext cx="4500386" cy="6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de-DE"/>
              <a:t>Agend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960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pos="423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vmlDrawing" Target="../drawings/vmlDrawing4.vml"/><Relationship Id="rId7" Type="http://schemas.openxmlformats.org/officeDocument/2006/relationships/image" Target="../media/image7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9.jpeg"/><Relationship Id="rId4" Type="http://schemas.openxmlformats.org/officeDocument/2006/relationships/tags" Target="../tags/tag5.xml"/><Relationship Id="rId9" Type="http://schemas.microsoft.com/office/2007/relationships/hdphoto" Target="../media/hdphoto1.wdp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7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9.jpeg"/><Relationship Id="rId4" Type="http://schemas.openxmlformats.org/officeDocument/2006/relationships/tags" Target="../tags/tag7.xml"/><Relationship Id="rId9" Type="http://schemas.microsoft.com/office/2007/relationships/hdphoto" Target="../media/hdphoto1.wdp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7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9.jpeg"/><Relationship Id="rId4" Type="http://schemas.openxmlformats.org/officeDocument/2006/relationships/tags" Target="../tags/tag9.xml"/><Relationship Id="rId9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998" y="1595"/>
          <a:ext cx="199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98" y="1595"/>
                        <a:ext cx="199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1148" y="7096438"/>
            <a:ext cx="13449946" cy="468000"/>
          </a:xfrm>
          <a:prstGeom prst="rect">
            <a:avLst/>
          </a:prstGeom>
          <a:solidFill>
            <a:schemeClr val="bg1">
              <a:lumMod val="75000"/>
              <a:alpha val="49027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5" rIns="102663" bIns="52515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9531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611897" y="499668"/>
            <a:ext cx="12227224" cy="648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/>
          <a:p>
            <a:pPr marL="0" lvl="0" latinLnBrk="0"/>
            <a:r>
              <a:rPr lang="de-DE"/>
              <a:t>Action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E5B0292-1E20-4D43-B080-F04483C17796}"/>
              </a:ext>
            </a:extLst>
          </p:cNvPr>
          <p:cNvSpPr/>
          <p:nvPr userDrawn="1"/>
        </p:nvSpPr>
        <p:spPr bwMode="auto">
          <a:xfrm>
            <a:off x="459160" y="7186821"/>
            <a:ext cx="361874" cy="28724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52515" rIns="0" bIns="5251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10424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0B4D0E-EFE0-4340-A619-6E0B005FFC99}" type="slidenum">
              <a:rPr kumimoji="0" lang="de-DE" sz="1051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0424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51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4" name="Straight Connector 13"/>
          <p:cNvCxnSpPr/>
          <p:nvPr userDrawn="1"/>
        </p:nvCxnSpPr>
        <p:spPr bwMode="auto">
          <a:xfrm>
            <a:off x="-56108" y="1215486"/>
            <a:ext cx="13606790" cy="0"/>
          </a:xfrm>
          <a:prstGeom prst="line">
            <a:avLst/>
          </a:prstGeom>
          <a:ln>
            <a:solidFill>
              <a:srgbClr val="D30A22">
                <a:alpha val="24306"/>
              </a:srgb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auto">
          <a:xfrm>
            <a:off x="-70135" y="7088459"/>
            <a:ext cx="13606790" cy="0"/>
          </a:xfrm>
          <a:prstGeom prst="line">
            <a:avLst/>
          </a:prstGeom>
          <a:ln>
            <a:solidFill>
              <a:srgbClr val="D30A22">
                <a:alpha val="24000"/>
              </a:srgb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umsplatzhalter 2">
            <a:extLst>
              <a:ext uri="{FF2B5EF4-FFF2-40B4-BE49-F238E27FC236}">
                <a16:creationId xmlns:a16="http://schemas.microsoft.com/office/drawing/2014/main" id="{A1449C9B-867B-8244-BD72-D93286BDB3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9201" y="7168438"/>
            <a:ext cx="4675860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/>
              <a:t>Kick-Off</a:t>
            </a:r>
          </a:p>
        </p:txBody>
      </p:sp>
    </p:spTree>
    <p:extLst>
      <p:ext uri="{BB962C8B-B14F-4D97-AF65-F5344CB8AC3E}">
        <p14:creationId xmlns:p14="http://schemas.microsoft.com/office/powerpoint/2010/main" val="3373036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15" r:id="rId2"/>
    <p:sldLayoutId id="2147483716" r:id="rId3"/>
    <p:sldLayoutId id="2147483718" r:id="rId4"/>
    <p:sldLayoutId id="2147483723" r:id="rId5"/>
    <p:sldLayoutId id="2147483724" r:id="rId6"/>
  </p:sldLayoutIdLst>
  <p:hf hdr="0" ftr="0"/>
  <p:txStyles>
    <p:titleStyle>
      <a:lvl1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lang="en-GB" sz="1900" b="1" kern="0" dirty="0">
          <a:solidFill>
            <a:schemeClr val="tx1"/>
          </a:solidFill>
          <a:latin typeface="Tahoma"/>
          <a:ea typeface="ＭＳ Ｐゴシック" pitchFamily="-109" charset="-128"/>
          <a:cs typeface="Tahoma"/>
        </a:defRPr>
      </a:lvl1pPr>
      <a:lvl2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2pPr>
      <a:lvl3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3pPr>
      <a:lvl4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4pPr>
      <a:lvl5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5pPr>
      <a:lvl6pPr marL="456963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6pPr>
      <a:lvl7pPr marL="913922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7pPr>
      <a:lvl8pPr marL="1370883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8pPr>
      <a:lvl9pPr marL="1827843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9pPr>
    </p:titleStyle>
    <p:bodyStyle>
      <a:lvl1pPr marL="342721" indent="-342721" algn="l" defTabSz="994844" rtl="0" eaLnBrk="0" fontAlgn="base" hangingPunct="0">
        <a:spcBef>
          <a:spcPct val="20000"/>
        </a:spcBef>
        <a:spcAft>
          <a:spcPct val="0"/>
        </a:spcAft>
        <a:buClrTx/>
        <a:buSzPct val="100000"/>
        <a:buFont typeface="Arial" charset="0"/>
        <a:buChar char="•"/>
        <a:defRPr sz="1800">
          <a:solidFill>
            <a:schemeClr val="bg2"/>
          </a:solidFill>
          <a:latin typeface="Tahoma"/>
          <a:ea typeface="ＭＳ Ｐゴシック" pitchFamily="-109" charset="-128"/>
          <a:cs typeface="Tahoma"/>
        </a:defRPr>
      </a:lvl1pPr>
      <a:lvl2pPr marL="815547" indent="-456963" algn="l" defTabSz="994844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10000"/>
        <a:buFont typeface="Symbol" charset="2"/>
        <a:buChar char="-"/>
        <a:defRPr sz="2900">
          <a:solidFill>
            <a:srgbClr val="404040"/>
          </a:solidFill>
          <a:latin typeface="+mn-lt"/>
          <a:ea typeface="ＭＳ Ｐゴシック" pitchFamily="-109" charset="-128"/>
        </a:defRPr>
      </a:lvl2pPr>
      <a:lvl3pPr marL="645775" indent="-285601" algn="l" defTabSz="994844" rtl="0" eaLnBrk="0" fontAlgn="base" hangingPunct="0">
        <a:spcBef>
          <a:spcPct val="20000"/>
        </a:spcBef>
        <a:spcAft>
          <a:spcPct val="0"/>
        </a:spcAft>
        <a:buClrTx/>
        <a:buSzPct val="100000"/>
        <a:buFont typeface="Symbol" charset="2"/>
        <a:buChar char="-"/>
        <a:defRPr sz="1600">
          <a:solidFill>
            <a:schemeClr val="bg2"/>
          </a:solidFill>
          <a:latin typeface="Tahoma"/>
          <a:ea typeface="ＭＳ Ｐゴシック" pitchFamily="-109" charset="-128"/>
          <a:cs typeface="Tahoma"/>
        </a:defRPr>
      </a:lvl3pPr>
      <a:lvl4pPr marL="623562" indent="0" algn="l" defTabSz="994844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00000"/>
        <a:buFont typeface="Arial" charset="0"/>
        <a:buNone/>
        <a:defRPr sz="1400">
          <a:solidFill>
            <a:srgbClr val="404040"/>
          </a:solidFill>
          <a:latin typeface="+mn-lt"/>
          <a:ea typeface="ＭＳ Ｐゴシック" pitchFamily="-109" charset="-128"/>
        </a:defRPr>
      </a:lvl4pPr>
      <a:lvl5pPr marL="802855" indent="0" algn="l" defTabSz="994844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00000"/>
        <a:buFont typeface="Arial" charset="0"/>
        <a:buNone/>
        <a:defRPr sz="1400">
          <a:solidFill>
            <a:srgbClr val="404040"/>
          </a:solidFill>
          <a:latin typeface="+mn-lt"/>
          <a:ea typeface="ＭＳ Ｐゴシック" pitchFamily="-109" charset="-128"/>
        </a:defRPr>
      </a:lvl5pPr>
      <a:lvl6pPr marL="2016659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6pPr>
      <a:lvl7pPr marL="2473618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7pPr>
      <a:lvl8pPr marL="2930581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8pPr>
      <a:lvl9pPr marL="3387540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3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2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83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43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06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68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28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85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41924575"/>
              </p:ext>
            </p:extLst>
          </p:nvPr>
        </p:nvGraphicFramePr>
        <p:xfrm>
          <a:off x="1998" y="1595"/>
          <a:ext cx="199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98" y="1595"/>
                        <a:ext cx="199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50">
            <a:extLst>
              <a:ext uri="{FF2B5EF4-FFF2-40B4-BE49-F238E27FC236}">
                <a16:creationId xmlns:a16="http://schemas.microsoft.com/office/drawing/2014/main" id="{21BC1F0F-CC30-49D0-B70A-FA8AEF309B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8" y="0"/>
            <a:ext cx="5895708" cy="7564438"/>
          </a:xfrm>
          <a:prstGeom prst="rect">
            <a:avLst/>
          </a:prstGeom>
        </p:spPr>
      </p:pic>
      <p:cxnSp>
        <p:nvCxnSpPr>
          <p:cNvPr id="22" name="Straight Connector 8">
            <a:extLst>
              <a:ext uri="{FF2B5EF4-FFF2-40B4-BE49-F238E27FC236}">
                <a16:creationId xmlns:a16="http://schemas.microsoft.com/office/drawing/2014/main" id="{099318E3-C904-45AB-B074-E2560FB0B0F2}"/>
              </a:ext>
            </a:extLst>
          </p:cNvPr>
          <p:cNvCxnSpPr>
            <a:cxnSpLocks/>
          </p:cNvCxnSpPr>
          <p:nvPr userDrawn="1"/>
        </p:nvCxnSpPr>
        <p:spPr>
          <a:xfrm>
            <a:off x="6740551" y="1856925"/>
            <a:ext cx="631378" cy="0"/>
          </a:xfrm>
          <a:prstGeom prst="line">
            <a:avLst/>
          </a:prstGeom>
          <a:noFill/>
          <a:ln w="19050" cap="flat" cmpd="sng" algn="ctr">
            <a:solidFill>
              <a:srgbClr val="004080"/>
            </a:solidFill>
            <a:prstDash val="solid"/>
          </a:ln>
          <a:effectLst/>
        </p:spPr>
      </p:cxnSp>
      <p:pic>
        <p:nvPicPr>
          <p:cNvPr id="6" name="Grafik 19">
            <a:extLst>
              <a:ext uri="{FF2B5EF4-FFF2-40B4-BE49-F238E27FC236}">
                <a16:creationId xmlns:a16="http://schemas.microsoft.com/office/drawing/2014/main" id="{80D99F9B-BEC6-4C79-B6F8-04B27CD7B4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89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2"/>
            <a:ext cx="6181516" cy="7564437"/>
          </a:xfrm>
          <a:prstGeom prst="rect">
            <a:avLst/>
          </a:prstGeom>
        </p:spPr>
      </p:pic>
      <p:pic>
        <p:nvPicPr>
          <p:cNvPr id="7" name="Grafik 19">
            <a:extLst>
              <a:ext uri="{FF2B5EF4-FFF2-40B4-BE49-F238E27FC236}">
                <a16:creationId xmlns:a16="http://schemas.microsoft.com/office/drawing/2014/main" id="{14A3060D-1BE7-1E48-987D-4428884B0C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54033" t="7721"/>
          <a:stretch/>
        </p:blipFill>
        <p:spPr>
          <a:xfrm flipH="1">
            <a:off x="-3" y="-1"/>
            <a:ext cx="6181515" cy="7564439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042E4834-7280-AD4C-BF5E-4983EF8DAE09}"/>
              </a:ext>
            </a:extLst>
          </p:cNvPr>
          <p:cNvSpPr/>
          <p:nvPr userDrawn="1"/>
        </p:nvSpPr>
        <p:spPr>
          <a:xfrm>
            <a:off x="-3" y="4"/>
            <a:ext cx="6181518" cy="7564437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100000"/>
                  <a:alpha val="10000"/>
                </a:schemeClr>
              </a:gs>
              <a:gs pos="66000">
                <a:srgbClr val="F68A97">
                  <a:lumMod val="70000"/>
                  <a:lumOff val="30000"/>
                  <a:alpha val="75000"/>
                </a:srgbClr>
              </a:gs>
              <a:gs pos="0">
                <a:srgbClr val="D30A2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2476017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hdr="0" ftr="0"/>
  <p:txStyles>
    <p:titleStyle>
      <a:lvl1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lang="en-GB" sz="1900" b="1" kern="0" dirty="0">
          <a:solidFill>
            <a:schemeClr val="accent1"/>
          </a:solidFill>
          <a:latin typeface="Tahoma"/>
          <a:ea typeface="ＭＳ Ｐゴシック" pitchFamily="-109" charset="-128"/>
          <a:cs typeface="Tahoma"/>
        </a:defRPr>
      </a:lvl1pPr>
      <a:lvl2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2pPr>
      <a:lvl3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3pPr>
      <a:lvl4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4pPr>
      <a:lvl5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5pPr>
      <a:lvl6pPr marL="456963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6pPr>
      <a:lvl7pPr marL="913922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7pPr>
      <a:lvl8pPr marL="1370883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8pPr>
      <a:lvl9pPr marL="1827843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9pPr>
    </p:titleStyle>
    <p:bodyStyle>
      <a:lvl1pPr marL="342721" indent="-342721" algn="l" defTabSz="994844" rtl="0" eaLnBrk="0" fontAlgn="base" hangingPunct="0">
        <a:spcBef>
          <a:spcPct val="20000"/>
        </a:spcBef>
        <a:spcAft>
          <a:spcPct val="0"/>
        </a:spcAft>
        <a:buClrTx/>
        <a:buSzPct val="100000"/>
        <a:buFont typeface="Arial" charset="0"/>
        <a:buChar char="•"/>
        <a:defRPr sz="1800">
          <a:solidFill>
            <a:schemeClr val="bg2"/>
          </a:solidFill>
          <a:latin typeface="Tahoma"/>
          <a:ea typeface="ＭＳ Ｐゴシック" pitchFamily="-109" charset="-128"/>
          <a:cs typeface="Tahoma"/>
        </a:defRPr>
      </a:lvl1pPr>
      <a:lvl2pPr marL="815547" indent="-456963" algn="l" defTabSz="994844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10000"/>
        <a:buFont typeface="Symbol" charset="2"/>
        <a:buChar char="-"/>
        <a:defRPr sz="2900">
          <a:solidFill>
            <a:srgbClr val="404040"/>
          </a:solidFill>
          <a:latin typeface="+mn-lt"/>
          <a:ea typeface="ＭＳ Ｐゴシック" pitchFamily="-109" charset="-128"/>
        </a:defRPr>
      </a:lvl2pPr>
      <a:lvl3pPr marL="645775" indent="-285601" algn="l" defTabSz="994844" rtl="0" eaLnBrk="0" fontAlgn="base" hangingPunct="0">
        <a:spcBef>
          <a:spcPct val="20000"/>
        </a:spcBef>
        <a:spcAft>
          <a:spcPct val="0"/>
        </a:spcAft>
        <a:buClrTx/>
        <a:buSzPct val="100000"/>
        <a:buFont typeface="Symbol" charset="2"/>
        <a:buChar char="-"/>
        <a:defRPr sz="1600">
          <a:solidFill>
            <a:schemeClr val="bg2"/>
          </a:solidFill>
          <a:latin typeface="Tahoma"/>
          <a:ea typeface="ＭＳ Ｐゴシック" pitchFamily="-109" charset="-128"/>
          <a:cs typeface="Tahoma"/>
        </a:defRPr>
      </a:lvl3pPr>
      <a:lvl4pPr marL="623562" indent="0" algn="l" defTabSz="994844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00000"/>
        <a:buFont typeface="Arial" charset="0"/>
        <a:buNone/>
        <a:defRPr sz="1400">
          <a:solidFill>
            <a:srgbClr val="404040"/>
          </a:solidFill>
          <a:latin typeface="+mn-lt"/>
          <a:ea typeface="ＭＳ Ｐゴシック" pitchFamily="-109" charset="-128"/>
        </a:defRPr>
      </a:lvl4pPr>
      <a:lvl5pPr marL="802855" indent="0" algn="l" defTabSz="994844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00000"/>
        <a:buFont typeface="Arial" charset="0"/>
        <a:buNone/>
        <a:defRPr sz="1400">
          <a:solidFill>
            <a:srgbClr val="404040"/>
          </a:solidFill>
          <a:latin typeface="+mn-lt"/>
          <a:ea typeface="ＭＳ Ｐゴシック" pitchFamily="-109" charset="-128"/>
        </a:defRPr>
      </a:lvl5pPr>
      <a:lvl6pPr marL="2016659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6pPr>
      <a:lvl7pPr marL="2473618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7pPr>
      <a:lvl8pPr marL="2930581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8pPr>
      <a:lvl9pPr marL="3387540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3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2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83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43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06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68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28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85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48280498"/>
              </p:ext>
            </p:extLst>
          </p:nvPr>
        </p:nvGraphicFramePr>
        <p:xfrm>
          <a:off x="1998" y="1595"/>
          <a:ext cx="199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98" y="1595"/>
                        <a:ext cx="199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50">
            <a:extLst>
              <a:ext uri="{FF2B5EF4-FFF2-40B4-BE49-F238E27FC236}">
                <a16:creationId xmlns:a16="http://schemas.microsoft.com/office/drawing/2014/main" id="{21BC1F0F-CC30-49D0-B70A-FA8AEF309B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8" y="0"/>
            <a:ext cx="5895708" cy="7564438"/>
          </a:xfrm>
          <a:prstGeom prst="rect">
            <a:avLst/>
          </a:prstGeom>
        </p:spPr>
      </p:pic>
      <p:cxnSp>
        <p:nvCxnSpPr>
          <p:cNvPr id="22" name="Straight Connector 8">
            <a:extLst>
              <a:ext uri="{FF2B5EF4-FFF2-40B4-BE49-F238E27FC236}">
                <a16:creationId xmlns:a16="http://schemas.microsoft.com/office/drawing/2014/main" id="{099318E3-C904-45AB-B074-E2560FB0B0F2}"/>
              </a:ext>
            </a:extLst>
          </p:cNvPr>
          <p:cNvCxnSpPr>
            <a:cxnSpLocks/>
          </p:cNvCxnSpPr>
          <p:nvPr userDrawn="1"/>
        </p:nvCxnSpPr>
        <p:spPr>
          <a:xfrm>
            <a:off x="6740551" y="1856925"/>
            <a:ext cx="631378" cy="0"/>
          </a:xfrm>
          <a:prstGeom prst="line">
            <a:avLst/>
          </a:prstGeom>
          <a:noFill/>
          <a:ln w="19050" cap="flat" cmpd="sng" algn="ctr">
            <a:solidFill>
              <a:srgbClr val="004080"/>
            </a:solidFill>
            <a:prstDash val="solid"/>
          </a:ln>
          <a:effectLst/>
        </p:spPr>
      </p:cxnSp>
      <p:pic>
        <p:nvPicPr>
          <p:cNvPr id="6" name="Grafik 19">
            <a:extLst>
              <a:ext uri="{FF2B5EF4-FFF2-40B4-BE49-F238E27FC236}">
                <a16:creationId xmlns:a16="http://schemas.microsoft.com/office/drawing/2014/main" id="{80D99F9B-BEC6-4C79-B6F8-04B27CD7B4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89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2"/>
            <a:ext cx="6181516" cy="7564437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8039A797-DCEF-4F42-9A3A-451286E2F151}"/>
              </a:ext>
            </a:extLst>
          </p:cNvPr>
          <p:cNvGrpSpPr/>
          <p:nvPr userDrawn="1"/>
        </p:nvGrpSpPr>
        <p:grpSpPr>
          <a:xfrm>
            <a:off x="-3" y="-1"/>
            <a:ext cx="6181515" cy="7564439"/>
            <a:chOff x="-3" y="-1"/>
            <a:chExt cx="6181515" cy="7564439"/>
          </a:xfrm>
        </p:grpSpPr>
        <p:pic>
          <p:nvPicPr>
            <p:cNvPr id="8" name="Grafik 19">
              <a:extLst>
                <a:ext uri="{FF2B5EF4-FFF2-40B4-BE49-F238E27FC236}">
                  <a16:creationId xmlns:a16="http://schemas.microsoft.com/office/drawing/2014/main" id="{57565779-5D89-0841-9121-24867055F7B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/>
            <a:srcRect l="54033" t="7721"/>
            <a:stretch/>
          </p:blipFill>
          <p:spPr>
            <a:xfrm flipH="1">
              <a:off x="-3" y="-1"/>
              <a:ext cx="6181515" cy="7564439"/>
            </a:xfrm>
            <a:prstGeom prst="rect">
              <a:avLst/>
            </a:prstGeom>
          </p:spPr>
        </p:pic>
        <p:sp>
          <p:nvSpPr>
            <p:cNvPr id="9" name="Rechteck 3">
              <a:extLst>
                <a:ext uri="{FF2B5EF4-FFF2-40B4-BE49-F238E27FC236}">
                  <a16:creationId xmlns:a16="http://schemas.microsoft.com/office/drawing/2014/main" id="{C9B97D31-BA51-9847-862F-118FC36CED52}"/>
                </a:ext>
              </a:extLst>
            </p:cNvPr>
            <p:cNvSpPr/>
            <p:nvPr userDrawn="1"/>
          </p:nvSpPr>
          <p:spPr>
            <a:xfrm>
              <a:off x="-3" y="-1"/>
              <a:ext cx="6179552" cy="7564438"/>
            </a:xfrm>
            <a:prstGeom prst="rect">
              <a:avLst/>
            </a:prstGeom>
            <a:solidFill>
              <a:srgbClr val="0A1E50">
                <a:alpha val="5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2316"/>
            </a:p>
          </p:txBody>
        </p:sp>
      </p:grpSp>
      <p:sp>
        <p:nvSpPr>
          <p:cNvPr id="11" name="Rectangle 3">
            <a:extLst>
              <a:ext uri="{FF2B5EF4-FFF2-40B4-BE49-F238E27FC236}">
                <a16:creationId xmlns:a16="http://schemas.microsoft.com/office/drawing/2014/main" id="{62BF40D6-D363-584B-84D5-54FC027DE43A}"/>
              </a:ext>
            </a:extLst>
          </p:cNvPr>
          <p:cNvSpPr/>
          <p:nvPr userDrawn="1"/>
        </p:nvSpPr>
        <p:spPr>
          <a:xfrm>
            <a:off x="-3" y="4"/>
            <a:ext cx="6181518" cy="7564437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100000"/>
                  <a:alpha val="10000"/>
                </a:schemeClr>
              </a:gs>
              <a:gs pos="66000">
                <a:srgbClr val="F68A97">
                  <a:lumMod val="70000"/>
                  <a:lumOff val="30000"/>
                  <a:alpha val="75000"/>
                </a:srgbClr>
              </a:gs>
              <a:gs pos="0">
                <a:srgbClr val="D30A2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2459065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</p:sldLayoutIdLst>
  <p:hf hdr="0" ftr="0"/>
  <p:txStyles>
    <p:titleStyle>
      <a:lvl1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lang="en-GB" sz="1900" b="1" kern="0" dirty="0">
          <a:solidFill>
            <a:schemeClr val="accent1"/>
          </a:solidFill>
          <a:latin typeface="Tahoma"/>
          <a:ea typeface="ＭＳ Ｐゴシック" pitchFamily="-109" charset="-128"/>
          <a:cs typeface="Tahoma"/>
        </a:defRPr>
      </a:lvl1pPr>
      <a:lvl2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2pPr>
      <a:lvl3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3pPr>
      <a:lvl4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4pPr>
      <a:lvl5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5pPr>
      <a:lvl6pPr marL="456963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6pPr>
      <a:lvl7pPr marL="913922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7pPr>
      <a:lvl8pPr marL="1370883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8pPr>
      <a:lvl9pPr marL="1827843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9pPr>
    </p:titleStyle>
    <p:bodyStyle>
      <a:lvl1pPr marL="342721" indent="-342721" algn="l" defTabSz="994844" rtl="0" eaLnBrk="0" fontAlgn="base" hangingPunct="0">
        <a:spcBef>
          <a:spcPct val="20000"/>
        </a:spcBef>
        <a:spcAft>
          <a:spcPct val="0"/>
        </a:spcAft>
        <a:buClrTx/>
        <a:buSzPct val="100000"/>
        <a:buFont typeface="Arial" charset="0"/>
        <a:buChar char="•"/>
        <a:defRPr sz="1800">
          <a:solidFill>
            <a:schemeClr val="bg2"/>
          </a:solidFill>
          <a:latin typeface="Tahoma"/>
          <a:ea typeface="ＭＳ Ｐゴシック" pitchFamily="-109" charset="-128"/>
          <a:cs typeface="Tahoma"/>
        </a:defRPr>
      </a:lvl1pPr>
      <a:lvl2pPr marL="815547" indent="-456963" algn="l" defTabSz="994844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10000"/>
        <a:buFont typeface="Symbol" charset="2"/>
        <a:buChar char="-"/>
        <a:defRPr sz="2900">
          <a:solidFill>
            <a:srgbClr val="404040"/>
          </a:solidFill>
          <a:latin typeface="+mn-lt"/>
          <a:ea typeface="ＭＳ Ｐゴシック" pitchFamily="-109" charset="-128"/>
        </a:defRPr>
      </a:lvl2pPr>
      <a:lvl3pPr marL="645775" indent="-285601" algn="l" defTabSz="994844" rtl="0" eaLnBrk="0" fontAlgn="base" hangingPunct="0">
        <a:spcBef>
          <a:spcPct val="20000"/>
        </a:spcBef>
        <a:spcAft>
          <a:spcPct val="0"/>
        </a:spcAft>
        <a:buClrTx/>
        <a:buSzPct val="100000"/>
        <a:buFont typeface="Symbol" charset="2"/>
        <a:buChar char="-"/>
        <a:defRPr sz="1600">
          <a:solidFill>
            <a:schemeClr val="bg2"/>
          </a:solidFill>
          <a:latin typeface="Tahoma"/>
          <a:ea typeface="ＭＳ Ｐゴシック" pitchFamily="-109" charset="-128"/>
          <a:cs typeface="Tahoma"/>
        </a:defRPr>
      </a:lvl3pPr>
      <a:lvl4pPr marL="623562" indent="0" algn="l" defTabSz="994844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00000"/>
        <a:buFont typeface="Arial" charset="0"/>
        <a:buNone/>
        <a:defRPr sz="1400">
          <a:solidFill>
            <a:srgbClr val="404040"/>
          </a:solidFill>
          <a:latin typeface="+mn-lt"/>
          <a:ea typeface="ＭＳ Ｐゴシック" pitchFamily="-109" charset="-128"/>
        </a:defRPr>
      </a:lvl4pPr>
      <a:lvl5pPr marL="802855" indent="0" algn="l" defTabSz="994844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00000"/>
        <a:buFont typeface="Arial" charset="0"/>
        <a:buNone/>
        <a:defRPr sz="1400">
          <a:solidFill>
            <a:srgbClr val="404040"/>
          </a:solidFill>
          <a:latin typeface="+mn-lt"/>
          <a:ea typeface="ＭＳ Ｐゴシック" pitchFamily="-109" charset="-128"/>
        </a:defRPr>
      </a:lvl5pPr>
      <a:lvl6pPr marL="2016659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6pPr>
      <a:lvl7pPr marL="2473618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7pPr>
      <a:lvl8pPr marL="2930581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8pPr>
      <a:lvl9pPr marL="3387540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3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2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83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43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06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68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28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85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68039668"/>
              </p:ext>
            </p:extLst>
          </p:nvPr>
        </p:nvGraphicFramePr>
        <p:xfrm>
          <a:off x="1998" y="1595"/>
          <a:ext cx="199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98" y="1595"/>
                        <a:ext cx="199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50">
            <a:extLst>
              <a:ext uri="{FF2B5EF4-FFF2-40B4-BE49-F238E27FC236}">
                <a16:creationId xmlns:a16="http://schemas.microsoft.com/office/drawing/2014/main" id="{21BC1F0F-CC30-49D0-B70A-FA8AEF309B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8" y="0"/>
            <a:ext cx="5895708" cy="7564438"/>
          </a:xfrm>
          <a:prstGeom prst="rect">
            <a:avLst/>
          </a:prstGeom>
        </p:spPr>
      </p:pic>
      <p:cxnSp>
        <p:nvCxnSpPr>
          <p:cNvPr id="22" name="Straight Connector 8">
            <a:extLst>
              <a:ext uri="{FF2B5EF4-FFF2-40B4-BE49-F238E27FC236}">
                <a16:creationId xmlns:a16="http://schemas.microsoft.com/office/drawing/2014/main" id="{099318E3-C904-45AB-B074-E2560FB0B0F2}"/>
              </a:ext>
            </a:extLst>
          </p:cNvPr>
          <p:cNvCxnSpPr>
            <a:cxnSpLocks/>
          </p:cNvCxnSpPr>
          <p:nvPr userDrawn="1"/>
        </p:nvCxnSpPr>
        <p:spPr>
          <a:xfrm>
            <a:off x="6740551" y="1856925"/>
            <a:ext cx="631378" cy="0"/>
          </a:xfrm>
          <a:prstGeom prst="line">
            <a:avLst/>
          </a:prstGeom>
          <a:noFill/>
          <a:ln w="19050" cap="flat" cmpd="sng" algn="ctr">
            <a:solidFill>
              <a:srgbClr val="004080"/>
            </a:solidFill>
            <a:prstDash val="solid"/>
          </a:ln>
          <a:effectLst/>
        </p:spPr>
      </p:cxnSp>
      <p:pic>
        <p:nvPicPr>
          <p:cNvPr id="6" name="Grafik 19">
            <a:extLst>
              <a:ext uri="{FF2B5EF4-FFF2-40B4-BE49-F238E27FC236}">
                <a16:creationId xmlns:a16="http://schemas.microsoft.com/office/drawing/2014/main" id="{80D99F9B-BEC6-4C79-B6F8-04B27CD7B4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89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2"/>
            <a:ext cx="6181516" cy="7564437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BA1DE53F-ED57-584F-A1B7-0951851FA1F5}"/>
              </a:ext>
            </a:extLst>
          </p:cNvPr>
          <p:cNvGrpSpPr/>
          <p:nvPr userDrawn="1"/>
        </p:nvGrpSpPr>
        <p:grpSpPr>
          <a:xfrm>
            <a:off x="-3" y="-1"/>
            <a:ext cx="6181515" cy="7564439"/>
            <a:chOff x="-3" y="-1"/>
            <a:chExt cx="6181515" cy="7564439"/>
          </a:xfrm>
        </p:grpSpPr>
        <p:pic>
          <p:nvPicPr>
            <p:cNvPr id="8" name="Grafik 19">
              <a:extLst>
                <a:ext uri="{FF2B5EF4-FFF2-40B4-BE49-F238E27FC236}">
                  <a16:creationId xmlns:a16="http://schemas.microsoft.com/office/drawing/2014/main" id="{3CE9ED6D-1A8A-6941-A935-D18B515E4A9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/>
            <a:srcRect l="54033" t="7721"/>
            <a:stretch/>
          </p:blipFill>
          <p:spPr>
            <a:xfrm flipH="1">
              <a:off x="-3" y="-1"/>
              <a:ext cx="6181515" cy="7564439"/>
            </a:xfrm>
            <a:prstGeom prst="rect">
              <a:avLst/>
            </a:prstGeom>
          </p:spPr>
        </p:pic>
        <p:sp>
          <p:nvSpPr>
            <p:cNvPr id="9" name="Rechteck 3">
              <a:extLst>
                <a:ext uri="{FF2B5EF4-FFF2-40B4-BE49-F238E27FC236}">
                  <a16:creationId xmlns:a16="http://schemas.microsoft.com/office/drawing/2014/main" id="{B18E9A8F-DAC1-1349-8AFE-73336FC5E3C9}"/>
                </a:ext>
              </a:extLst>
            </p:cNvPr>
            <p:cNvSpPr/>
            <p:nvPr userDrawn="1"/>
          </p:nvSpPr>
          <p:spPr>
            <a:xfrm>
              <a:off x="-3" y="-1"/>
              <a:ext cx="6179552" cy="7564438"/>
            </a:xfrm>
            <a:prstGeom prst="rect">
              <a:avLst/>
            </a:prstGeom>
            <a:solidFill>
              <a:srgbClr val="0A1E50">
                <a:alpha val="5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2316"/>
            </a:p>
          </p:txBody>
        </p:sp>
      </p:grpSp>
      <p:sp>
        <p:nvSpPr>
          <p:cNvPr id="10" name="Rectangle 3">
            <a:extLst>
              <a:ext uri="{FF2B5EF4-FFF2-40B4-BE49-F238E27FC236}">
                <a16:creationId xmlns:a16="http://schemas.microsoft.com/office/drawing/2014/main" id="{03314C7A-3036-CF47-85C6-8139F9CF00B1}"/>
              </a:ext>
            </a:extLst>
          </p:cNvPr>
          <p:cNvSpPr/>
          <p:nvPr userDrawn="1"/>
        </p:nvSpPr>
        <p:spPr>
          <a:xfrm>
            <a:off x="-3" y="4"/>
            <a:ext cx="6181518" cy="7564437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100000"/>
                  <a:alpha val="10000"/>
                </a:schemeClr>
              </a:gs>
              <a:gs pos="66000">
                <a:srgbClr val="F68A97">
                  <a:lumMod val="70000"/>
                  <a:lumOff val="30000"/>
                  <a:alpha val="75000"/>
                </a:srgbClr>
              </a:gs>
              <a:gs pos="0">
                <a:srgbClr val="D30A2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3137601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</p:sldLayoutIdLst>
  <p:hf hdr="0" ftr="0"/>
  <p:txStyles>
    <p:titleStyle>
      <a:lvl1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lang="en-GB" sz="1900" b="1" kern="0" dirty="0">
          <a:solidFill>
            <a:schemeClr val="accent1"/>
          </a:solidFill>
          <a:latin typeface="Tahoma"/>
          <a:ea typeface="ＭＳ Ｐゴシック" pitchFamily="-109" charset="-128"/>
          <a:cs typeface="Tahoma"/>
        </a:defRPr>
      </a:lvl1pPr>
      <a:lvl2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2pPr>
      <a:lvl3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3pPr>
      <a:lvl4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4pPr>
      <a:lvl5pPr algn="l" defTabSz="994844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5pPr>
      <a:lvl6pPr marL="456963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6pPr>
      <a:lvl7pPr marL="913922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7pPr>
      <a:lvl8pPr marL="1370883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8pPr>
      <a:lvl9pPr marL="1827843" algn="l" defTabSz="994844" rtl="0" fontAlgn="base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300" b="1">
          <a:solidFill>
            <a:schemeClr val="tx2"/>
          </a:solidFill>
          <a:latin typeface="Arial" charset="0"/>
        </a:defRPr>
      </a:lvl9pPr>
    </p:titleStyle>
    <p:bodyStyle>
      <a:lvl1pPr marL="342721" indent="-342721" algn="l" defTabSz="994844" rtl="0" eaLnBrk="0" fontAlgn="base" hangingPunct="0">
        <a:spcBef>
          <a:spcPct val="20000"/>
        </a:spcBef>
        <a:spcAft>
          <a:spcPct val="0"/>
        </a:spcAft>
        <a:buClrTx/>
        <a:buSzPct val="100000"/>
        <a:buFont typeface="Arial" charset="0"/>
        <a:buChar char="•"/>
        <a:defRPr sz="1800">
          <a:solidFill>
            <a:schemeClr val="bg2"/>
          </a:solidFill>
          <a:latin typeface="Tahoma"/>
          <a:ea typeface="ＭＳ Ｐゴシック" pitchFamily="-109" charset="-128"/>
          <a:cs typeface="Tahoma"/>
        </a:defRPr>
      </a:lvl1pPr>
      <a:lvl2pPr marL="815547" indent="-456963" algn="l" defTabSz="994844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10000"/>
        <a:buFont typeface="Symbol" charset="2"/>
        <a:buChar char="-"/>
        <a:defRPr sz="2900">
          <a:solidFill>
            <a:srgbClr val="404040"/>
          </a:solidFill>
          <a:latin typeface="+mn-lt"/>
          <a:ea typeface="ＭＳ Ｐゴシック" pitchFamily="-109" charset="-128"/>
        </a:defRPr>
      </a:lvl2pPr>
      <a:lvl3pPr marL="645775" indent="-285601" algn="l" defTabSz="994844" rtl="0" eaLnBrk="0" fontAlgn="base" hangingPunct="0">
        <a:spcBef>
          <a:spcPct val="20000"/>
        </a:spcBef>
        <a:spcAft>
          <a:spcPct val="0"/>
        </a:spcAft>
        <a:buClrTx/>
        <a:buSzPct val="100000"/>
        <a:buFont typeface="Symbol" charset="2"/>
        <a:buChar char="-"/>
        <a:defRPr sz="1600">
          <a:solidFill>
            <a:schemeClr val="bg2"/>
          </a:solidFill>
          <a:latin typeface="Tahoma"/>
          <a:ea typeface="ＭＳ Ｐゴシック" pitchFamily="-109" charset="-128"/>
          <a:cs typeface="Tahoma"/>
        </a:defRPr>
      </a:lvl3pPr>
      <a:lvl4pPr marL="623562" indent="0" algn="l" defTabSz="994844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00000"/>
        <a:buFont typeface="Arial" charset="0"/>
        <a:buNone/>
        <a:defRPr sz="1400">
          <a:solidFill>
            <a:srgbClr val="404040"/>
          </a:solidFill>
          <a:latin typeface="+mn-lt"/>
          <a:ea typeface="ＭＳ Ｐゴシック" pitchFamily="-109" charset="-128"/>
        </a:defRPr>
      </a:lvl4pPr>
      <a:lvl5pPr marL="802855" indent="0" algn="l" defTabSz="994844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00000"/>
        <a:buFont typeface="Arial" charset="0"/>
        <a:buNone/>
        <a:defRPr sz="1400">
          <a:solidFill>
            <a:srgbClr val="404040"/>
          </a:solidFill>
          <a:latin typeface="+mn-lt"/>
          <a:ea typeface="ＭＳ Ｐゴシック" pitchFamily="-109" charset="-128"/>
        </a:defRPr>
      </a:lvl5pPr>
      <a:lvl6pPr marL="2016659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6pPr>
      <a:lvl7pPr marL="2473618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7pPr>
      <a:lvl8pPr marL="2930581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8pPr>
      <a:lvl9pPr marL="3387540" indent="-387147" algn="l" defTabSz="994844" rtl="0" fontAlgn="base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3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2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83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43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06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68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28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85" algn="l" defTabSz="9139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2B16BC71-6C5D-C6F8-DB9A-3F7730D639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13447713" cy="7564339"/>
          </a:xfrm>
          <a:prstGeom prst="rect">
            <a:avLst/>
          </a:prstGeom>
        </p:spPr>
      </p:pic>
      <p:sp>
        <p:nvSpPr>
          <p:cNvPr id="9" name="Rechteck 3">
            <a:extLst>
              <a:ext uri="{FF2B5EF4-FFF2-40B4-BE49-F238E27FC236}">
                <a16:creationId xmlns:a16="http://schemas.microsoft.com/office/drawing/2014/main" id="{3BB54962-125B-EC47-912F-C2CD5529D9B0}"/>
              </a:ext>
            </a:extLst>
          </p:cNvPr>
          <p:cNvSpPr/>
          <p:nvPr/>
        </p:nvSpPr>
        <p:spPr>
          <a:xfrm>
            <a:off x="-2" y="0"/>
            <a:ext cx="13447713" cy="756443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316"/>
          </a:p>
        </p:txBody>
      </p:sp>
      <p:sp>
        <p:nvSpPr>
          <p:cNvPr id="6" name="Rectangle 5"/>
          <p:cNvSpPr/>
          <p:nvPr/>
        </p:nvSpPr>
        <p:spPr>
          <a:xfrm>
            <a:off x="859185" y="829033"/>
            <a:ext cx="5355878" cy="3817330"/>
          </a:xfrm>
          <a:prstGeom prst="rect">
            <a:avLst/>
          </a:prstGeom>
          <a:solidFill>
            <a:schemeClr val="bg1"/>
          </a:soli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endParaRPr lang="en-US" sz="4110" b="1">
              <a:solidFill>
                <a:schemeClr val="accent1"/>
              </a:solidFill>
              <a:latin typeface="Raleway"/>
              <a:cs typeface="Raleway"/>
            </a:endParaRPr>
          </a:p>
          <a:p>
            <a:pPr lvl="1">
              <a:lnSpc>
                <a:spcPct val="140000"/>
              </a:lnSpc>
            </a:pPr>
            <a:endParaRPr lang="en-US" sz="587" b="1">
              <a:latin typeface="Raleway"/>
              <a:cs typeface="Raleway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59185" y="2083014"/>
            <a:ext cx="57723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lvl="1"/>
            <a:r>
              <a:rPr lang="en-US" sz="2800" b="1">
                <a:solidFill>
                  <a:srgbClr val="002060"/>
                </a:solidFill>
                <a:latin typeface="+mj-lt"/>
                <a:cs typeface="Raleway"/>
              </a:rPr>
              <a:t>Recommendation System</a:t>
            </a:r>
          </a:p>
          <a:p>
            <a:pPr marL="360000" lvl="1"/>
            <a:r>
              <a:rPr lang="en-US" sz="2800" b="1">
                <a:solidFill>
                  <a:srgbClr val="002060"/>
                </a:solidFill>
                <a:latin typeface="+mj-lt"/>
                <a:cs typeface="Raleway"/>
              </a:rPr>
              <a:t>on MovieLens20M</a:t>
            </a:r>
          </a:p>
        </p:txBody>
      </p:sp>
      <p:sp>
        <p:nvSpPr>
          <p:cNvPr id="3" name="Rectangle 2"/>
          <p:cNvSpPr/>
          <p:nvPr/>
        </p:nvSpPr>
        <p:spPr>
          <a:xfrm>
            <a:off x="703071" y="3203524"/>
            <a:ext cx="5772384" cy="1041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2056">
                <a:solidFill>
                  <a:srgbClr val="002060"/>
                </a:solidFill>
                <a:latin typeface="+mj-lt"/>
                <a:cs typeface="Raleway"/>
              </a:rPr>
              <a:t>Final Presentation</a:t>
            </a:r>
          </a:p>
          <a:p>
            <a:pPr lvl="1"/>
            <a:r>
              <a:rPr lang="en-US" sz="2056">
                <a:solidFill>
                  <a:srgbClr val="002060"/>
                </a:solidFill>
                <a:latin typeface="+mj-lt"/>
                <a:cs typeface="Raleway"/>
              </a:rPr>
              <a:t>Web Mining Project Group 9</a:t>
            </a:r>
          </a:p>
          <a:p>
            <a:pPr lvl="1"/>
            <a:r>
              <a:rPr lang="en-US" sz="2056">
                <a:solidFill>
                  <a:srgbClr val="002060"/>
                </a:solidFill>
                <a:latin typeface="+mj-lt"/>
                <a:cs typeface="Raleway"/>
              </a:rPr>
              <a:t>31.05.2022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0C7EBB0-ACDA-5344-A6C1-3AC1FA86F5A5}"/>
              </a:ext>
            </a:extLst>
          </p:cNvPr>
          <p:cNvSpPr/>
          <p:nvPr/>
        </p:nvSpPr>
        <p:spPr bwMode="auto">
          <a:xfrm>
            <a:off x="4732784" y="1073417"/>
            <a:ext cx="907200" cy="9061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5600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013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668397D-CCAE-A440-9990-D344659DB3D8}"/>
              </a:ext>
            </a:extLst>
          </p:cNvPr>
          <p:cNvSpPr/>
          <p:nvPr/>
        </p:nvSpPr>
        <p:spPr bwMode="auto">
          <a:xfrm>
            <a:off x="1476110" y="1073417"/>
            <a:ext cx="2495815" cy="9061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5600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013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pic>
        <p:nvPicPr>
          <p:cNvPr id="13" name="Picture 4">
            <a:extLst>
              <a:ext uri="{FF2B5EF4-FFF2-40B4-BE49-F238E27FC236}">
                <a16:creationId xmlns:a16="http://schemas.microsoft.com/office/drawing/2014/main" id="{55D4D07D-0821-F843-92EE-D73EE42EDE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5075" y="1278367"/>
            <a:ext cx="2178391" cy="615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84B3BDE1-D8E7-D84E-AD17-7CD9B8B4916B}"/>
              </a:ext>
            </a:extLst>
          </p:cNvPr>
          <p:cNvCxnSpPr>
            <a:cxnSpLocks/>
          </p:cNvCxnSpPr>
          <p:nvPr/>
        </p:nvCxnSpPr>
        <p:spPr bwMode="auto">
          <a:xfrm>
            <a:off x="1342297" y="3076899"/>
            <a:ext cx="3456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797446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feld 48">
            <a:extLst>
              <a:ext uri="{FF2B5EF4-FFF2-40B4-BE49-F238E27FC236}">
                <a16:creationId xmlns:a16="http://schemas.microsoft.com/office/drawing/2014/main" id="{8DF102D2-191F-79AE-821D-C73C3A41E887}"/>
              </a:ext>
            </a:extLst>
          </p:cNvPr>
          <p:cNvSpPr txBox="1"/>
          <p:nvPr/>
        </p:nvSpPr>
        <p:spPr>
          <a:xfrm flipH="1">
            <a:off x="819198" y="4059347"/>
            <a:ext cx="9565769" cy="2772000"/>
          </a:xfrm>
          <a:prstGeom prst="rect">
            <a:avLst/>
          </a:prstGeom>
          <a:noFill/>
          <a:ln w="19050" cap="flat" cmpd="sng" algn="ctr">
            <a:solidFill>
              <a:srgbClr val="D9D9D9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8309" tIns="49452" rIns="96672" bIns="49452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defTabSz="995264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defRPr sz="54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defTabSz="937311">
              <a:buClr>
                <a:srgbClr val="B1FEEB"/>
              </a:buClr>
              <a:defRPr/>
            </a:pPr>
            <a:endParaRPr lang="de-DE" sz="5086">
              <a:solidFill>
                <a:srgbClr val="FFFFFF">
                  <a:lumMod val="50000"/>
                </a:srgbClr>
              </a:solidFill>
              <a:latin typeface="Tahoma"/>
            </a:endParaRPr>
          </a:p>
        </p:txBody>
      </p:sp>
      <p:sp>
        <p:nvSpPr>
          <p:cNvPr id="30" name="Titel 51">
            <a:extLst>
              <a:ext uri="{FF2B5EF4-FFF2-40B4-BE49-F238E27FC236}">
                <a16:creationId xmlns:a16="http://schemas.microsoft.com/office/drawing/2014/main" id="{37A31358-C64D-BA4B-B76C-08DCCEFFF2BF}"/>
              </a:ext>
            </a:extLst>
          </p:cNvPr>
          <p:cNvSpPr txBox="1">
            <a:spLocks/>
          </p:cNvSpPr>
          <p:nvPr/>
        </p:nvSpPr>
        <p:spPr>
          <a:xfrm>
            <a:off x="323850" y="331812"/>
            <a:ext cx="12815888" cy="791513"/>
          </a:xfrm>
          <a:prstGeom prst="rect">
            <a:avLst/>
          </a:prstGeom>
        </p:spPr>
        <p:txBody>
          <a:bodyPr vert="horz" lIns="0" rIns="0" anchor="t"/>
          <a:lstStyle>
            <a:lvl1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400" b="1" kern="0" smtClean="0">
                <a:solidFill>
                  <a:schemeClr val="tx1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49429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6pPr>
            <a:lvl7pPr marL="898853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7pPr>
            <a:lvl8pPr marL="1348278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8pPr>
            <a:lvl9pPr marL="1797704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buClr>
                <a:srgbClr val="FF8000"/>
              </a:buClr>
            </a:pPr>
            <a:r>
              <a:rPr lang="en-GB" sz="1800">
                <a:solidFill>
                  <a:srgbClr val="002060"/>
                </a:solidFill>
              </a:rPr>
              <a:t>Evaluation and Results</a:t>
            </a:r>
          </a:p>
          <a:p>
            <a:pPr>
              <a:buClr>
                <a:srgbClr val="FF8000"/>
              </a:buClr>
            </a:pPr>
            <a:r>
              <a:rPr lang="en-GB" sz="2800">
                <a:solidFill>
                  <a:srgbClr val="002060"/>
                </a:solidFill>
              </a:rPr>
              <a:t>Single Recommenders</a:t>
            </a:r>
            <a:endParaRPr lang="en-GB">
              <a:solidFill>
                <a:srgbClr val="002060"/>
              </a:solidFill>
            </a:endParaRPr>
          </a:p>
        </p:txBody>
      </p:sp>
      <p:sp>
        <p:nvSpPr>
          <p:cNvPr id="28" name="Textplatzhalter 49">
            <a:extLst>
              <a:ext uri="{FF2B5EF4-FFF2-40B4-BE49-F238E27FC236}">
                <a16:creationId xmlns:a16="http://schemas.microsoft.com/office/drawing/2014/main" id="{1707D6E5-FBC2-4348-8CCB-0F1B8C5B4AC0}"/>
              </a:ext>
            </a:extLst>
          </p:cNvPr>
          <p:cNvSpPr txBox="1">
            <a:spLocks/>
          </p:cNvSpPr>
          <p:nvPr/>
        </p:nvSpPr>
        <p:spPr>
          <a:xfrm>
            <a:off x="323849" y="43812"/>
            <a:ext cx="10061121" cy="283618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 defTabSz="978439" rtl="0" eaLnBrk="0" fontAlgn="base" hangingPunct="0"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sz="1600" b="1" baseline="0">
                <a:solidFill>
                  <a:schemeClr val="bg1">
                    <a:lumMod val="65000"/>
                  </a:schemeClr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495668" indent="-247834" algn="l" defTabSz="978439" rtl="0" eaLnBrk="0" fontAlgn="base" hangingPunct="0">
              <a:spcBef>
                <a:spcPts val="295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601882" indent="-212428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13280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4pPr>
            <a:lvl5pPr marL="789616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5pPr>
            <a:lvl6pPr marL="1983407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6pPr>
            <a:lvl7pPr marL="2432832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7pPr>
            <a:lvl8pPr marL="2882261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8pPr>
            <a:lvl9pPr marL="3331684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kern="0">
                <a:solidFill>
                  <a:srgbClr val="FFFFFF">
                    <a:lumMod val="65000"/>
                  </a:srgbClr>
                </a:solidFill>
              </a:rPr>
              <a:t>Results</a:t>
            </a:r>
            <a:endParaRPr lang="en-GB"/>
          </a:p>
        </p:txBody>
      </p:sp>
      <p:sp>
        <p:nvSpPr>
          <p:cNvPr id="17" name="Date Placeholder 5">
            <a:extLst>
              <a:ext uri="{FF2B5EF4-FFF2-40B4-BE49-F238E27FC236}">
                <a16:creationId xmlns:a16="http://schemas.microsoft.com/office/drawing/2014/main" id="{D7C184D3-A201-7C37-FC0C-B3150B8122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9201" y="7168438"/>
            <a:ext cx="4675860" cy="324000"/>
          </a:xfrm>
        </p:spPr>
        <p:txBody>
          <a:bodyPr/>
          <a:lstStyle/>
          <a:p>
            <a:r>
              <a:rPr lang="en-GB"/>
              <a:t> | Group 9 | Final Presentation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DC3AD97-0592-875B-6D98-AB5242596641}"/>
              </a:ext>
            </a:extLst>
          </p:cNvPr>
          <p:cNvCxnSpPr/>
          <p:nvPr/>
        </p:nvCxnSpPr>
        <p:spPr bwMode="auto">
          <a:xfrm>
            <a:off x="-11151" y="1215489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0D19F8C-9B53-EDE3-1E9F-870FAACC4B84}"/>
              </a:ext>
            </a:extLst>
          </p:cNvPr>
          <p:cNvCxnSpPr/>
          <p:nvPr/>
        </p:nvCxnSpPr>
        <p:spPr bwMode="auto">
          <a:xfrm>
            <a:off x="-16287" y="7088464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Rectangle 5">
            <a:extLst>
              <a:ext uri="{FF2B5EF4-FFF2-40B4-BE49-F238E27FC236}">
                <a16:creationId xmlns:a16="http://schemas.microsoft.com/office/drawing/2014/main" id="{1C6C53F3-39F6-8148-730C-A2DF5EC0AC02}"/>
              </a:ext>
            </a:extLst>
          </p:cNvPr>
          <p:cNvSpPr/>
          <p:nvPr/>
        </p:nvSpPr>
        <p:spPr>
          <a:xfrm>
            <a:off x="345590" y="1355100"/>
            <a:ext cx="13118409" cy="925113"/>
          </a:xfrm>
          <a:prstGeom prst="rect">
            <a:avLst/>
          </a:prstGeom>
          <a:solidFill>
            <a:srgbClr val="B0B6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263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526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3791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055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6319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7580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48845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0111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083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Parallelogramm 7">
            <a:extLst>
              <a:ext uri="{FF2B5EF4-FFF2-40B4-BE49-F238E27FC236}">
                <a16:creationId xmlns:a16="http://schemas.microsoft.com/office/drawing/2014/main" id="{9FFCB8F6-1E50-0FA7-2414-994754256684}"/>
              </a:ext>
            </a:extLst>
          </p:cNvPr>
          <p:cNvSpPr/>
          <p:nvPr/>
        </p:nvSpPr>
        <p:spPr bwMode="auto">
          <a:xfrm flipH="1">
            <a:off x="598263" y="1256545"/>
            <a:ext cx="741749" cy="1352839"/>
          </a:xfrm>
          <a:prstGeom prst="parallelogram">
            <a:avLst>
              <a:gd name="adj" fmla="val 7526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63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526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379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05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6319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758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4884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11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9" name="Dreieck 34">
            <a:extLst>
              <a:ext uri="{FF2B5EF4-FFF2-40B4-BE49-F238E27FC236}">
                <a16:creationId xmlns:a16="http://schemas.microsoft.com/office/drawing/2014/main" id="{CBDF1828-8488-36D4-57BE-FF7AD88D25F8}"/>
              </a:ext>
            </a:extLst>
          </p:cNvPr>
          <p:cNvSpPr/>
          <p:nvPr/>
        </p:nvSpPr>
        <p:spPr bwMode="auto">
          <a:xfrm>
            <a:off x="-267685" y="1275514"/>
            <a:ext cx="1267645" cy="1579431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63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526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379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05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6319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758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4884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11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AD5EEA47-193C-F89C-771D-4ECF2905AD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71961" y="1457939"/>
            <a:ext cx="11667778" cy="74508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28600" tIns="65726" rIns="0" bIns="37150">
            <a:spAutoFit/>
          </a:bodyPr>
          <a:lstStyle>
            <a:defPPr>
              <a:defRPr lang="de-DE"/>
            </a:defPPr>
            <a:lvl1pPr marL="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63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526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379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05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6319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758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4884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11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802089">
              <a:spcAft>
                <a:spcPts val="238"/>
              </a:spcAft>
              <a:defRPr/>
            </a:pPr>
            <a:r>
              <a:rPr lang="en-US" sz="2000" b="1" i="1" kern="0">
                <a:solidFill>
                  <a:srgbClr val="002060"/>
                </a:solidFill>
                <a:latin typeface="Georgia" panose="02040502050405020303" pitchFamily="18" charset="0"/>
              </a:rPr>
              <a:t>Short Disclaimer:</a:t>
            </a:r>
          </a:p>
          <a:p>
            <a:pPr algn="r" defTabSz="802089">
              <a:spcAft>
                <a:spcPts val="238"/>
              </a:spcAft>
              <a:defRPr/>
            </a:pPr>
            <a:r>
              <a:rPr lang="en-GB" sz="2000" b="1" i="1" kern="0">
                <a:solidFill>
                  <a:srgbClr val="002060"/>
                </a:solidFill>
                <a:latin typeface="Georgia" panose="02040502050405020303" pitchFamily="18" charset="0"/>
              </a:rPr>
              <a:t>CB &amp; Hybrid Recommender were only tested on a smaller sample (40K ratings)</a:t>
            </a: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63E4F46A-F4CB-1635-92FA-601B5A745B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4029177"/>
              </p:ext>
            </p:extLst>
          </p:nvPr>
        </p:nvGraphicFramePr>
        <p:xfrm>
          <a:off x="1033955" y="2408252"/>
          <a:ext cx="9188112" cy="1483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16000">
                  <a:extLst>
                    <a:ext uri="{9D8B030D-6E8A-4147-A177-3AD203B41FA5}">
                      <a16:colId xmlns:a16="http://schemas.microsoft.com/office/drawing/2014/main" val="170204870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558519622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3915085954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1121955584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37249006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Combinati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MA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RMS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NDCG@1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NDCG@1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8224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User-based CF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5325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7447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096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096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8438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Item-based CF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5175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7271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511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337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035365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Model-based CF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614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377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779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779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1687005"/>
                  </a:ext>
                </a:extLst>
              </a:tr>
            </a:tbl>
          </a:graphicData>
        </a:graphic>
      </p:graphicFrame>
      <p:graphicFrame>
        <p:nvGraphicFramePr>
          <p:cNvPr id="18" name="Tabelle 4">
            <a:extLst>
              <a:ext uri="{FF2B5EF4-FFF2-40B4-BE49-F238E27FC236}">
                <a16:creationId xmlns:a16="http://schemas.microsoft.com/office/drawing/2014/main" id="{F5262A71-BDCE-8921-DB7E-6F0E2E0705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6829344"/>
              </p:ext>
            </p:extLst>
          </p:nvPr>
        </p:nvGraphicFramePr>
        <p:xfrm>
          <a:off x="1041155" y="4218076"/>
          <a:ext cx="9188112" cy="1112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16000">
                  <a:extLst>
                    <a:ext uri="{9D8B030D-6E8A-4147-A177-3AD203B41FA5}">
                      <a16:colId xmlns:a16="http://schemas.microsoft.com/office/drawing/2014/main" val="170204870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558519622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3915085954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1121955584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37249006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User-based CF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4509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6675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866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714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8438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Item-based CF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4373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6469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929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815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035365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Model-based CF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0370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3095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300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8A97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576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8A97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1687005"/>
                  </a:ext>
                </a:extLst>
              </a:tr>
            </a:tbl>
          </a:graphicData>
        </a:graphic>
      </p:graphicFrame>
      <p:graphicFrame>
        <p:nvGraphicFramePr>
          <p:cNvPr id="20" name="Tabelle 4">
            <a:extLst>
              <a:ext uri="{FF2B5EF4-FFF2-40B4-BE49-F238E27FC236}">
                <a16:creationId xmlns:a16="http://schemas.microsoft.com/office/drawing/2014/main" id="{06295525-A90A-4793-B405-F7C9C2B7E3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7364094"/>
              </p:ext>
            </p:extLst>
          </p:nvPr>
        </p:nvGraphicFramePr>
        <p:xfrm>
          <a:off x="1033955" y="5541740"/>
          <a:ext cx="9188112" cy="1112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16000">
                  <a:extLst>
                    <a:ext uri="{9D8B030D-6E8A-4147-A177-3AD203B41FA5}">
                      <a16:colId xmlns:a16="http://schemas.microsoft.com/office/drawing/2014/main" val="170204870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558519622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3915085954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1121955584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37249006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Genre CB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570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695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474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304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8A97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8438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Release Year CB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510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520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435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677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035365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Tag Relevance CB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077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387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984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759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1687005"/>
                  </a:ext>
                </a:extLst>
              </a:tr>
            </a:tbl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710EE5F4-F5F8-EADF-229B-70E0EBF90592}"/>
              </a:ext>
            </a:extLst>
          </p:cNvPr>
          <p:cNvSpPr/>
          <p:nvPr/>
        </p:nvSpPr>
        <p:spPr bwMode="auto">
          <a:xfrm>
            <a:off x="10831880" y="6176287"/>
            <a:ext cx="2042992" cy="570693"/>
          </a:xfrm>
          <a:prstGeom prst="rect">
            <a:avLst/>
          </a:prstGeom>
          <a:solidFill>
            <a:schemeClr val="bg1"/>
          </a:solidFill>
          <a:ln w="158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78160" tIns="39317" rIns="76858" bIns="39317" numCol="1" rtlCol="0" anchor="ctr" anchorCtr="0" compatLnSpc="1">
            <a:prstTxWarp prst="textNoShape">
              <a:avLst/>
            </a:prstTxWarp>
          </a:bodyPr>
          <a:lstStyle/>
          <a:p>
            <a:pPr algn="ctr" defTabSz="745236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sz="1348">
              <a:solidFill>
                <a:srgbClr val="646464"/>
              </a:solidFill>
            </a:endParaRP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B506F5B-EE8F-9266-D092-8A6DEEB5816B}"/>
              </a:ext>
            </a:extLst>
          </p:cNvPr>
          <p:cNvGrpSpPr/>
          <p:nvPr/>
        </p:nvGrpSpPr>
        <p:grpSpPr>
          <a:xfrm>
            <a:off x="10714023" y="6213818"/>
            <a:ext cx="235713" cy="495629"/>
            <a:chOff x="7934854" y="6404218"/>
            <a:chExt cx="445041" cy="1132637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C01EB91-918F-4FFE-A7E2-90F6EEE1640E}"/>
                </a:ext>
              </a:extLst>
            </p:cNvPr>
            <p:cNvSpPr/>
            <p:nvPr/>
          </p:nvSpPr>
          <p:spPr bwMode="auto">
            <a:xfrm>
              <a:off x="7934854" y="6404218"/>
              <a:ext cx="445041" cy="113263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277" tIns="52454" rIns="102542" bIns="52454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4268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1799">
                <a:solidFill>
                  <a:schemeClr val="accent5"/>
                </a:solidFill>
                <a:latin typeface="Arial" charset="0"/>
              </a:endParaRPr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0F90E741-8F77-D76D-17C7-F1254DE1F47A}"/>
                </a:ext>
              </a:extLst>
            </p:cNvPr>
            <p:cNvGrpSpPr/>
            <p:nvPr/>
          </p:nvGrpSpPr>
          <p:grpSpPr>
            <a:xfrm rot="10800000">
              <a:off x="8037760" y="6646292"/>
              <a:ext cx="239229" cy="648489"/>
              <a:chOff x="710707" y="5652655"/>
              <a:chExt cx="525811" cy="1163780"/>
            </a:xfrm>
            <a:solidFill>
              <a:srgbClr val="C00000"/>
            </a:solidFill>
          </p:grpSpPr>
          <p:sp>
            <p:nvSpPr>
              <p:cNvPr id="26" name="Parallelogramm 25">
                <a:extLst>
                  <a:ext uri="{FF2B5EF4-FFF2-40B4-BE49-F238E27FC236}">
                    <a16:creationId xmlns:a16="http://schemas.microsoft.com/office/drawing/2014/main" id="{2406E664-0DB3-CDF1-32DC-2DC7D3E7C0A9}"/>
                  </a:ext>
                </a:extLst>
              </p:cNvPr>
              <p:cNvSpPr/>
              <p:nvPr/>
            </p:nvSpPr>
            <p:spPr bwMode="auto">
              <a:xfrm>
                <a:off x="710707" y="5652655"/>
                <a:ext cx="525811" cy="581890"/>
              </a:xfrm>
              <a:prstGeom prst="parallelogram">
                <a:avLst>
                  <a:gd name="adj" fmla="val 46738"/>
                </a:avLst>
              </a:prstGeom>
              <a:solidFill>
                <a:srgbClr val="00206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04277" tIns="52454" rIns="102542" bIns="5245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9426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folHlink"/>
                  </a:buClr>
                  <a:buSzPct val="75000"/>
                </a:pPr>
                <a:endParaRPr lang="de-DE" sz="1799">
                  <a:solidFill>
                    <a:schemeClr val="tx2"/>
                  </a:solidFill>
                  <a:latin typeface="Arial" charset="0"/>
                </a:endParaRPr>
              </a:p>
            </p:txBody>
          </p:sp>
          <p:sp>
            <p:nvSpPr>
              <p:cNvPr id="27" name="Parallelogramm 26">
                <a:extLst>
                  <a:ext uri="{FF2B5EF4-FFF2-40B4-BE49-F238E27FC236}">
                    <a16:creationId xmlns:a16="http://schemas.microsoft.com/office/drawing/2014/main" id="{EC79ADC5-06E1-EB55-8F62-CE207515FDC4}"/>
                  </a:ext>
                </a:extLst>
              </p:cNvPr>
              <p:cNvSpPr/>
              <p:nvPr/>
            </p:nvSpPr>
            <p:spPr bwMode="auto">
              <a:xfrm flipH="1">
                <a:off x="710707" y="6234545"/>
                <a:ext cx="525403" cy="581890"/>
              </a:xfrm>
              <a:prstGeom prst="parallelogram">
                <a:avLst>
                  <a:gd name="adj" fmla="val 46738"/>
                </a:avLst>
              </a:prstGeom>
              <a:solidFill>
                <a:srgbClr val="00206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04277" tIns="52454" rIns="102542" bIns="5245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9426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folHlink"/>
                  </a:buClr>
                  <a:buSzPct val="75000"/>
                </a:pPr>
                <a:endParaRPr lang="de-DE" sz="1799">
                  <a:solidFill>
                    <a:schemeClr val="tx2"/>
                  </a:solidFill>
                  <a:latin typeface="Arial" charset="0"/>
                </a:endParaRPr>
              </a:p>
            </p:txBody>
          </p:sp>
        </p:grpSp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3D309F8F-F253-0F23-7C76-1825FFD25C4F}"/>
              </a:ext>
            </a:extLst>
          </p:cNvPr>
          <p:cNvSpPr txBox="1"/>
          <p:nvPr/>
        </p:nvSpPr>
        <p:spPr>
          <a:xfrm>
            <a:off x="11005850" y="6304881"/>
            <a:ext cx="17273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GB" sz="1600" kern="0">
                <a:solidFill>
                  <a:srgbClr val="002060"/>
                </a:solidFill>
              </a:rPr>
              <a:t>First on small set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3B89328-B6B3-C854-7744-B36200B152A9}"/>
              </a:ext>
            </a:extLst>
          </p:cNvPr>
          <p:cNvSpPr/>
          <p:nvPr/>
        </p:nvSpPr>
        <p:spPr bwMode="auto">
          <a:xfrm>
            <a:off x="10830077" y="3427735"/>
            <a:ext cx="2042992" cy="570693"/>
          </a:xfrm>
          <a:prstGeom prst="rect">
            <a:avLst/>
          </a:prstGeom>
          <a:solidFill>
            <a:schemeClr val="bg1"/>
          </a:solidFill>
          <a:ln w="158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78160" tIns="39317" rIns="76858" bIns="39317" numCol="1" rtlCol="0" anchor="ctr" anchorCtr="0" compatLnSpc="1">
            <a:prstTxWarp prst="textNoShape">
              <a:avLst/>
            </a:prstTxWarp>
          </a:bodyPr>
          <a:lstStyle/>
          <a:p>
            <a:pPr algn="ctr" defTabSz="745236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sz="1348">
              <a:solidFill>
                <a:srgbClr val="646464"/>
              </a:solidFill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1608315A-32F6-1207-717A-0A9D39009255}"/>
              </a:ext>
            </a:extLst>
          </p:cNvPr>
          <p:cNvGrpSpPr/>
          <p:nvPr/>
        </p:nvGrpSpPr>
        <p:grpSpPr>
          <a:xfrm>
            <a:off x="10712220" y="3465266"/>
            <a:ext cx="235713" cy="495629"/>
            <a:chOff x="7934854" y="6404218"/>
            <a:chExt cx="445041" cy="1132637"/>
          </a:xfrm>
        </p:grpSpPr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8D0636D1-3A7C-B30E-FCDA-50F7D4449F27}"/>
                </a:ext>
              </a:extLst>
            </p:cNvPr>
            <p:cNvSpPr/>
            <p:nvPr/>
          </p:nvSpPr>
          <p:spPr bwMode="auto">
            <a:xfrm>
              <a:off x="7934854" y="6404218"/>
              <a:ext cx="445041" cy="113263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277" tIns="52454" rIns="102542" bIns="52454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4268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1799">
                <a:solidFill>
                  <a:schemeClr val="accent5"/>
                </a:solidFill>
                <a:latin typeface="Arial" charset="0"/>
              </a:endParaRPr>
            </a:p>
          </p:txBody>
        </p: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2CBC3894-5073-516D-1BE4-190FC843D7AA}"/>
                </a:ext>
              </a:extLst>
            </p:cNvPr>
            <p:cNvGrpSpPr/>
            <p:nvPr/>
          </p:nvGrpSpPr>
          <p:grpSpPr>
            <a:xfrm rot="10800000">
              <a:off x="8037760" y="6646292"/>
              <a:ext cx="239229" cy="648489"/>
              <a:chOff x="710707" y="5652655"/>
              <a:chExt cx="525811" cy="1163780"/>
            </a:xfrm>
            <a:solidFill>
              <a:srgbClr val="C00000"/>
            </a:solidFill>
          </p:grpSpPr>
          <p:sp>
            <p:nvSpPr>
              <p:cNvPr id="40" name="Parallelogramm 39">
                <a:extLst>
                  <a:ext uri="{FF2B5EF4-FFF2-40B4-BE49-F238E27FC236}">
                    <a16:creationId xmlns:a16="http://schemas.microsoft.com/office/drawing/2014/main" id="{8DB9D7CE-6E12-2C40-AEFD-27B88FA5FDEC}"/>
                  </a:ext>
                </a:extLst>
              </p:cNvPr>
              <p:cNvSpPr/>
              <p:nvPr/>
            </p:nvSpPr>
            <p:spPr bwMode="auto">
              <a:xfrm>
                <a:off x="710707" y="5652655"/>
                <a:ext cx="525811" cy="581890"/>
              </a:xfrm>
              <a:prstGeom prst="parallelogram">
                <a:avLst>
                  <a:gd name="adj" fmla="val 46738"/>
                </a:avLst>
              </a:prstGeom>
              <a:solidFill>
                <a:srgbClr val="00206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04277" tIns="52454" rIns="102542" bIns="5245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9426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folHlink"/>
                  </a:buClr>
                  <a:buSzPct val="75000"/>
                </a:pPr>
                <a:endParaRPr lang="de-DE" sz="1799">
                  <a:solidFill>
                    <a:schemeClr val="tx2"/>
                  </a:solidFill>
                  <a:latin typeface="Arial" charset="0"/>
                </a:endParaRPr>
              </a:p>
            </p:txBody>
          </p:sp>
          <p:sp>
            <p:nvSpPr>
              <p:cNvPr id="41" name="Parallelogramm 40">
                <a:extLst>
                  <a:ext uri="{FF2B5EF4-FFF2-40B4-BE49-F238E27FC236}">
                    <a16:creationId xmlns:a16="http://schemas.microsoft.com/office/drawing/2014/main" id="{E4FC7633-0367-FA4B-4FA1-F982DF5F6802}"/>
                  </a:ext>
                </a:extLst>
              </p:cNvPr>
              <p:cNvSpPr/>
              <p:nvPr/>
            </p:nvSpPr>
            <p:spPr bwMode="auto">
              <a:xfrm flipH="1">
                <a:off x="710707" y="6234545"/>
                <a:ext cx="525403" cy="581890"/>
              </a:xfrm>
              <a:prstGeom prst="parallelogram">
                <a:avLst>
                  <a:gd name="adj" fmla="val 46738"/>
                </a:avLst>
              </a:prstGeom>
              <a:solidFill>
                <a:srgbClr val="00206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04277" tIns="52454" rIns="102542" bIns="5245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9426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folHlink"/>
                  </a:buClr>
                  <a:buSzPct val="75000"/>
                </a:pPr>
                <a:endParaRPr lang="de-DE" sz="1799">
                  <a:solidFill>
                    <a:schemeClr val="tx2"/>
                  </a:solidFill>
                  <a:latin typeface="Arial" charset="0"/>
                </a:endParaRPr>
              </a:p>
            </p:txBody>
          </p:sp>
        </p:grpSp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52A8DCE1-CC53-BF08-4A39-A6E0D2EC2FD1}"/>
              </a:ext>
            </a:extLst>
          </p:cNvPr>
          <p:cNvSpPr txBox="1"/>
          <p:nvPr/>
        </p:nvSpPr>
        <p:spPr>
          <a:xfrm>
            <a:off x="11004047" y="3556329"/>
            <a:ext cx="1764000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GB" sz="1600" kern="0">
                <a:solidFill>
                  <a:srgbClr val="002060"/>
                </a:solidFill>
              </a:rPr>
              <a:t>First on entire set</a:t>
            </a:r>
          </a:p>
        </p:txBody>
      </p:sp>
    </p:spTree>
    <p:extLst>
      <p:ext uri="{BB962C8B-B14F-4D97-AF65-F5344CB8AC3E}">
        <p14:creationId xmlns:p14="http://schemas.microsoft.com/office/powerpoint/2010/main" val="32210559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bgerundetes Rechteck 33">
            <a:extLst>
              <a:ext uri="{FF2B5EF4-FFF2-40B4-BE49-F238E27FC236}">
                <a16:creationId xmlns:a16="http://schemas.microsoft.com/office/drawing/2014/main" id="{63799247-2E70-911D-7C12-2AEC41798F49}"/>
              </a:ext>
            </a:extLst>
          </p:cNvPr>
          <p:cNvSpPr/>
          <p:nvPr/>
        </p:nvSpPr>
        <p:spPr bwMode="auto">
          <a:xfrm>
            <a:off x="11327089" y="3894082"/>
            <a:ext cx="1296000" cy="1296000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40" name="Abgerundetes Rechteck 33">
            <a:extLst>
              <a:ext uri="{FF2B5EF4-FFF2-40B4-BE49-F238E27FC236}">
                <a16:creationId xmlns:a16="http://schemas.microsoft.com/office/drawing/2014/main" id="{8B0A3F50-4A42-3F08-6DD1-4B7FF798DAE9}"/>
              </a:ext>
            </a:extLst>
          </p:cNvPr>
          <p:cNvSpPr/>
          <p:nvPr/>
        </p:nvSpPr>
        <p:spPr bwMode="auto">
          <a:xfrm>
            <a:off x="11327592" y="5377335"/>
            <a:ext cx="1296000" cy="1296000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30" name="Titel 51">
            <a:extLst>
              <a:ext uri="{FF2B5EF4-FFF2-40B4-BE49-F238E27FC236}">
                <a16:creationId xmlns:a16="http://schemas.microsoft.com/office/drawing/2014/main" id="{37A31358-C64D-BA4B-B76C-08DCCEFFF2BF}"/>
              </a:ext>
            </a:extLst>
          </p:cNvPr>
          <p:cNvSpPr txBox="1">
            <a:spLocks/>
          </p:cNvSpPr>
          <p:nvPr/>
        </p:nvSpPr>
        <p:spPr>
          <a:xfrm>
            <a:off x="323850" y="331812"/>
            <a:ext cx="12815888" cy="791513"/>
          </a:xfrm>
          <a:prstGeom prst="rect">
            <a:avLst/>
          </a:prstGeom>
        </p:spPr>
        <p:txBody>
          <a:bodyPr vert="horz" lIns="0" rIns="0" anchor="t"/>
          <a:lstStyle>
            <a:lvl1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400" b="1" kern="0" smtClean="0">
                <a:solidFill>
                  <a:schemeClr val="tx1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49429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6pPr>
            <a:lvl7pPr marL="898853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7pPr>
            <a:lvl8pPr marL="1348278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8pPr>
            <a:lvl9pPr marL="1797704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buClr>
                <a:srgbClr val="FF8000"/>
              </a:buClr>
            </a:pPr>
            <a:r>
              <a:rPr lang="en-GB" sz="1800">
                <a:solidFill>
                  <a:srgbClr val="002060"/>
                </a:solidFill>
              </a:rPr>
              <a:t>Evaluation and Results</a:t>
            </a:r>
          </a:p>
          <a:p>
            <a:pPr>
              <a:buClr>
                <a:srgbClr val="FF8000"/>
              </a:buClr>
            </a:pPr>
            <a:r>
              <a:rPr lang="en-GB" sz="2800">
                <a:solidFill>
                  <a:srgbClr val="002060"/>
                </a:solidFill>
              </a:rPr>
              <a:t>Hybrid Recommenders</a:t>
            </a:r>
            <a:endParaRPr lang="en-GB">
              <a:solidFill>
                <a:srgbClr val="002060"/>
              </a:solidFill>
            </a:endParaRPr>
          </a:p>
        </p:txBody>
      </p:sp>
      <p:sp>
        <p:nvSpPr>
          <p:cNvPr id="28" name="Textplatzhalter 49">
            <a:extLst>
              <a:ext uri="{FF2B5EF4-FFF2-40B4-BE49-F238E27FC236}">
                <a16:creationId xmlns:a16="http://schemas.microsoft.com/office/drawing/2014/main" id="{1707D6E5-FBC2-4348-8CCB-0F1B8C5B4AC0}"/>
              </a:ext>
            </a:extLst>
          </p:cNvPr>
          <p:cNvSpPr txBox="1">
            <a:spLocks/>
          </p:cNvSpPr>
          <p:nvPr/>
        </p:nvSpPr>
        <p:spPr>
          <a:xfrm>
            <a:off x="323849" y="43812"/>
            <a:ext cx="10061121" cy="283618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 defTabSz="978439" rtl="0" eaLnBrk="0" fontAlgn="base" hangingPunct="0"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sz="1600" b="1" baseline="0">
                <a:solidFill>
                  <a:schemeClr val="bg1">
                    <a:lumMod val="65000"/>
                  </a:schemeClr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495668" indent="-247834" algn="l" defTabSz="978439" rtl="0" eaLnBrk="0" fontAlgn="base" hangingPunct="0">
              <a:spcBef>
                <a:spcPts val="295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601882" indent="-212428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13280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4pPr>
            <a:lvl5pPr marL="789616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5pPr>
            <a:lvl6pPr marL="1983407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6pPr>
            <a:lvl7pPr marL="2432832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7pPr>
            <a:lvl8pPr marL="2882261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8pPr>
            <a:lvl9pPr marL="3331684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kern="0">
                <a:solidFill>
                  <a:srgbClr val="FFFFFF">
                    <a:lumMod val="65000"/>
                  </a:srgbClr>
                </a:solidFill>
              </a:rPr>
              <a:t>Results</a:t>
            </a:r>
            <a:endParaRPr lang="en-GB"/>
          </a:p>
        </p:txBody>
      </p:sp>
      <p:sp>
        <p:nvSpPr>
          <p:cNvPr id="17" name="Date Placeholder 5">
            <a:extLst>
              <a:ext uri="{FF2B5EF4-FFF2-40B4-BE49-F238E27FC236}">
                <a16:creationId xmlns:a16="http://schemas.microsoft.com/office/drawing/2014/main" id="{D7C184D3-A201-7C37-FC0C-B3150B8122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9201" y="7168438"/>
            <a:ext cx="4675860" cy="324000"/>
          </a:xfrm>
        </p:spPr>
        <p:txBody>
          <a:bodyPr/>
          <a:lstStyle/>
          <a:p>
            <a:r>
              <a:rPr lang="en-GB"/>
              <a:t> | Group 9 | Final Presentation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DC3AD97-0592-875B-6D98-AB5242596641}"/>
              </a:ext>
            </a:extLst>
          </p:cNvPr>
          <p:cNvCxnSpPr/>
          <p:nvPr/>
        </p:nvCxnSpPr>
        <p:spPr bwMode="auto">
          <a:xfrm>
            <a:off x="-11151" y="1215489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0D19F8C-9B53-EDE3-1E9F-870FAACC4B84}"/>
              </a:ext>
            </a:extLst>
          </p:cNvPr>
          <p:cNvCxnSpPr/>
          <p:nvPr/>
        </p:nvCxnSpPr>
        <p:spPr bwMode="auto">
          <a:xfrm>
            <a:off x="-16287" y="7088464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Parallelogramm 7">
            <a:extLst>
              <a:ext uri="{FF2B5EF4-FFF2-40B4-BE49-F238E27FC236}">
                <a16:creationId xmlns:a16="http://schemas.microsoft.com/office/drawing/2014/main" id="{9FFCB8F6-1E50-0FA7-2414-994754256684}"/>
              </a:ext>
            </a:extLst>
          </p:cNvPr>
          <p:cNvSpPr/>
          <p:nvPr/>
        </p:nvSpPr>
        <p:spPr bwMode="auto">
          <a:xfrm>
            <a:off x="11555793" y="1332171"/>
            <a:ext cx="741749" cy="1352839"/>
          </a:xfrm>
          <a:prstGeom prst="parallelogram">
            <a:avLst>
              <a:gd name="adj" fmla="val 7526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63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526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379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05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6319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758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4884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11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9" name="Dreieck 34">
            <a:extLst>
              <a:ext uri="{FF2B5EF4-FFF2-40B4-BE49-F238E27FC236}">
                <a16:creationId xmlns:a16="http://schemas.microsoft.com/office/drawing/2014/main" id="{CBDF1828-8488-36D4-57BE-FF7AD88D25F8}"/>
              </a:ext>
            </a:extLst>
          </p:cNvPr>
          <p:cNvSpPr/>
          <p:nvPr/>
        </p:nvSpPr>
        <p:spPr bwMode="auto">
          <a:xfrm>
            <a:off x="11926668" y="1274297"/>
            <a:ext cx="1267645" cy="1579431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63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526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379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05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6319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758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4884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11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graphicFrame>
        <p:nvGraphicFramePr>
          <p:cNvPr id="10" name="Tabelle 4">
            <a:extLst>
              <a:ext uri="{FF2B5EF4-FFF2-40B4-BE49-F238E27FC236}">
                <a16:creationId xmlns:a16="http://schemas.microsoft.com/office/drawing/2014/main" id="{89585C7A-0B45-FA98-6300-424133915E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6930942"/>
              </p:ext>
            </p:extLst>
          </p:nvPr>
        </p:nvGraphicFramePr>
        <p:xfrm>
          <a:off x="589094" y="1406305"/>
          <a:ext cx="10124112" cy="2225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2000">
                  <a:extLst>
                    <a:ext uri="{9D8B030D-6E8A-4147-A177-3AD203B41FA5}">
                      <a16:colId xmlns:a16="http://schemas.microsoft.com/office/drawing/2014/main" val="170204870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558519622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3915085954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1121955584"/>
                    </a:ext>
                  </a:extLst>
                </a:gridCol>
                <a:gridCol w="1793028">
                  <a:extLst>
                    <a:ext uri="{9D8B030D-6E8A-4147-A177-3AD203B41FA5}">
                      <a16:colId xmlns:a16="http://schemas.microsoft.com/office/drawing/2014/main" val="37249006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Combinati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MA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RMS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NDCG@1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NDCG@1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8224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All 3 CB &amp; All 3 CF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0188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1988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810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8A97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207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8438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All 3 CB &amp; Model-based CF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176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042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988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698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035365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All 3 CB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783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659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701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823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1687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3842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/>
                        <a:t>Baselin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/>
                        <a:t>0.707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/>
                        <a:t>0.908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/>
                        <a:t>0.8758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/>
                        <a:t>0.8758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2114363"/>
                  </a:ext>
                </a:extLst>
              </a:tr>
            </a:tbl>
          </a:graphicData>
        </a:graphic>
      </p:graphicFrame>
      <p:sp>
        <p:nvSpPr>
          <p:cNvPr id="20" name="Rechteck 19">
            <a:extLst>
              <a:ext uri="{FF2B5EF4-FFF2-40B4-BE49-F238E27FC236}">
                <a16:creationId xmlns:a16="http://schemas.microsoft.com/office/drawing/2014/main" id="{51BB46F9-6554-063D-8805-ECBA94F7D17C}"/>
              </a:ext>
            </a:extLst>
          </p:cNvPr>
          <p:cNvSpPr/>
          <p:nvPr/>
        </p:nvSpPr>
        <p:spPr bwMode="auto">
          <a:xfrm>
            <a:off x="589093" y="3883372"/>
            <a:ext cx="10124112" cy="2772319"/>
          </a:xfrm>
          <a:prstGeom prst="rect">
            <a:avLst/>
          </a:prstGeom>
          <a:solidFill>
            <a:schemeClr val="bg1"/>
          </a:solidFill>
          <a:ln w="158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78160" tIns="39317" rIns="76858" bIns="39317" numCol="1" rtlCol="0" anchor="ctr" anchorCtr="0" compatLnSpc="1">
            <a:prstTxWarp prst="textNoShape">
              <a:avLst/>
            </a:prstTxWarp>
          </a:bodyPr>
          <a:lstStyle/>
          <a:p>
            <a:pPr algn="ctr" defTabSz="745236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sz="1348">
              <a:solidFill>
                <a:srgbClr val="646464"/>
              </a:solidFill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EDB32C4-7C4B-F80C-C8B8-00715AC3FEA8}"/>
              </a:ext>
            </a:extLst>
          </p:cNvPr>
          <p:cNvGrpSpPr/>
          <p:nvPr/>
        </p:nvGrpSpPr>
        <p:grpSpPr>
          <a:xfrm rot="5400000">
            <a:off x="1165082" y="3383771"/>
            <a:ext cx="445041" cy="1132637"/>
            <a:chOff x="7934854" y="6404218"/>
            <a:chExt cx="445041" cy="1132637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0DDE1469-CCF2-A594-C605-102235D7BD2D}"/>
                </a:ext>
              </a:extLst>
            </p:cNvPr>
            <p:cNvSpPr/>
            <p:nvPr/>
          </p:nvSpPr>
          <p:spPr bwMode="auto">
            <a:xfrm>
              <a:off x="7934854" y="6404218"/>
              <a:ext cx="445041" cy="113263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277" tIns="52454" rIns="102542" bIns="52454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4268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1799">
                <a:solidFill>
                  <a:schemeClr val="accent5"/>
                </a:solidFill>
                <a:latin typeface="Arial" charset="0"/>
              </a:endParaRPr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FD7D1DC-9947-1CB9-4F94-4A405B84C61B}"/>
                </a:ext>
              </a:extLst>
            </p:cNvPr>
            <p:cNvGrpSpPr/>
            <p:nvPr/>
          </p:nvGrpSpPr>
          <p:grpSpPr>
            <a:xfrm rot="10800000">
              <a:off x="8037760" y="6646292"/>
              <a:ext cx="239229" cy="648489"/>
              <a:chOff x="710707" y="5652655"/>
              <a:chExt cx="525811" cy="1163780"/>
            </a:xfrm>
            <a:solidFill>
              <a:srgbClr val="C00000"/>
            </a:solidFill>
          </p:grpSpPr>
          <p:sp>
            <p:nvSpPr>
              <p:cNvPr id="24" name="Parallelogramm 23">
                <a:extLst>
                  <a:ext uri="{FF2B5EF4-FFF2-40B4-BE49-F238E27FC236}">
                    <a16:creationId xmlns:a16="http://schemas.microsoft.com/office/drawing/2014/main" id="{F8E86BD1-BF1F-D924-4040-6DFCE9D5FD8E}"/>
                  </a:ext>
                </a:extLst>
              </p:cNvPr>
              <p:cNvSpPr/>
              <p:nvPr/>
            </p:nvSpPr>
            <p:spPr bwMode="auto">
              <a:xfrm>
                <a:off x="710707" y="5652655"/>
                <a:ext cx="525811" cy="581890"/>
              </a:xfrm>
              <a:prstGeom prst="parallelogram">
                <a:avLst>
                  <a:gd name="adj" fmla="val 46738"/>
                </a:avLst>
              </a:prstGeom>
              <a:solidFill>
                <a:srgbClr val="00206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04277" tIns="52454" rIns="102542" bIns="5245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9426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folHlink"/>
                  </a:buClr>
                  <a:buSzPct val="75000"/>
                </a:pPr>
                <a:endParaRPr lang="de-DE" sz="1799">
                  <a:solidFill>
                    <a:schemeClr val="tx2"/>
                  </a:solidFill>
                  <a:latin typeface="Arial" charset="0"/>
                </a:endParaRPr>
              </a:p>
            </p:txBody>
          </p:sp>
          <p:sp>
            <p:nvSpPr>
              <p:cNvPr id="25" name="Parallelogramm 24">
                <a:extLst>
                  <a:ext uri="{FF2B5EF4-FFF2-40B4-BE49-F238E27FC236}">
                    <a16:creationId xmlns:a16="http://schemas.microsoft.com/office/drawing/2014/main" id="{5E2414AC-64AE-B172-83FE-5C6E2FC8C08B}"/>
                  </a:ext>
                </a:extLst>
              </p:cNvPr>
              <p:cNvSpPr/>
              <p:nvPr/>
            </p:nvSpPr>
            <p:spPr bwMode="auto">
              <a:xfrm flipH="1">
                <a:off x="710707" y="6234545"/>
                <a:ext cx="525403" cy="581890"/>
              </a:xfrm>
              <a:prstGeom prst="parallelogram">
                <a:avLst>
                  <a:gd name="adj" fmla="val 46738"/>
                </a:avLst>
              </a:prstGeom>
              <a:solidFill>
                <a:srgbClr val="00206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04277" tIns="52454" rIns="102542" bIns="5245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9426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folHlink"/>
                  </a:buClr>
                  <a:buSzPct val="75000"/>
                </a:pPr>
                <a:endParaRPr lang="de-DE" sz="1799">
                  <a:solidFill>
                    <a:schemeClr val="tx2"/>
                  </a:solidFill>
                  <a:latin typeface="Arial" charset="0"/>
                </a:endParaRPr>
              </a:p>
            </p:txBody>
          </p:sp>
        </p:grp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DA535F3B-0FD7-D852-34B5-ADBE20EA053C}"/>
              </a:ext>
            </a:extLst>
          </p:cNvPr>
          <p:cNvSpPr txBox="1"/>
          <p:nvPr/>
        </p:nvSpPr>
        <p:spPr>
          <a:xfrm>
            <a:off x="913338" y="4159220"/>
            <a:ext cx="9317262" cy="233910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buClr>
                <a:srgbClr val="002060"/>
              </a:buClr>
            </a:pPr>
            <a:r>
              <a:rPr lang="en-GB" sz="1800" b="1" kern="0">
                <a:solidFill>
                  <a:srgbClr val="002060"/>
                </a:solidFill>
              </a:rPr>
              <a:t>The NDCG@K Problem</a:t>
            </a:r>
          </a:p>
          <a:p>
            <a:pPr marL="342900" indent="-342900"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GB" sz="1800" kern="0"/>
              <a:t>NDCG ranges between 0 and 1, where 1 = optimal value</a:t>
            </a:r>
          </a:p>
          <a:p>
            <a:pPr marL="342900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GB" sz="1800" kern="0"/>
              <a:t>NDCG results are </a:t>
            </a:r>
            <a:r>
              <a:rPr lang="en-US" sz="1800" kern="0"/>
              <a:t>suspiciously close to the optimal value: [0.8304, 0.9810]</a:t>
            </a:r>
          </a:p>
          <a:p>
            <a:pPr marL="342900" indent="-342900"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sz="1800" kern="0"/>
              <a:t>Except of one outlier: Model-based CF on entire </a:t>
            </a:r>
            <a:r>
              <a:rPr lang="en-US" sz="1800" kern="0" err="1"/>
              <a:t>testset</a:t>
            </a:r>
            <a:r>
              <a:rPr lang="en-US" sz="1800" kern="0"/>
              <a:t> which has best MAE &amp; RMSE</a:t>
            </a:r>
          </a:p>
          <a:p>
            <a:pPr marL="342900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sz="1800" kern="0"/>
              <a:t>Highest Ranked Papers on </a:t>
            </a:r>
            <a:r>
              <a:rPr lang="en-US" sz="1800" kern="0" err="1"/>
              <a:t>PapersWithCode</a:t>
            </a:r>
            <a:r>
              <a:rPr lang="en-US" sz="1800" kern="0"/>
              <a:t>:</a:t>
            </a:r>
          </a:p>
          <a:p>
            <a:pPr marL="864163" lvl="1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sz="1800" kern="0"/>
              <a:t>NDCG@100:  0.448   (VASP)</a:t>
            </a:r>
          </a:p>
          <a:p>
            <a:pPr marL="864163" lvl="1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sz="1800" kern="0"/>
              <a:t>NDCG@10:</a:t>
            </a:r>
            <a:r>
              <a:rPr lang="en-US" sz="1800" kern="0">
                <a:solidFill>
                  <a:schemeClr val="bg1"/>
                </a:solidFill>
              </a:rPr>
              <a:t>0</a:t>
            </a:r>
            <a:r>
              <a:rPr lang="en-US" sz="1800" kern="0"/>
              <a:t>  0.6404 (</a:t>
            </a:r>
            <a:r>
              <a:rPr lang="en-US" sz="1800" kern="0" err="1"/>
              <a:t>HyperML</a:t>
            </a:r>
            <a:r>
              <a:rPr lang="en-US" sz="1800" kern="0"/>
              <a:t>)</a:t>
            </a:r>
          </a:p>
        </p:txBody>
      </p:sp>
      <p:sp>
        <p:nvSpPr>
          <p:cNvPr id="29" name="Inhaltsplatzhalter 4">
            <a:extLst>
              <a:ext uri="{FF2B5EF4-FFF2-40B4-BE49-F238E27FC236}">
                <a16:creationId xmlns:a16="http://schemas.microsoft.com/office/drawing/2014/main" id="{53591106-CEB5-5AA9-AE40-A754BDAFE096}"/>
              </a:ext>
            </a:extLst>
          </p:cNvPr>
          <p:cNvSpPr txBox="1">
            <a:spLocks/>
          </p:cNvSpPr>
          <p:nvPr/>
        </p:nvSpPr>
        <p:spPr>
          <a:xfrm>
            <a:off x="611899" y="6846506"/>
            <a:ext cx="12100423" cy="246221"/>
          </a:xfrm>
          <a:prstGeom prst="rect">
            <a:avLst/>
          </a:prstGeom>
        </p:spPr>
        <p:txBody>
          <a:bodyPr wrap="square" lIns="0" rtlCol="0">
            <a:spAutoFit/>
          </a:bodyPr>
          <a:lstStyle>
            <a:lvl1pPr marL="342721" indent="-342721" algn="l" defTabSz="994844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defRPr lang="en-GB" sz="10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547" indent="-456963" algn="l" defTabSz="994844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10000"/>
              <a:buFont typeface="Symbol" charset="2"/>
              <a:buChar char="-"/>
              <a:defRPr sz="290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645775" indent="-285601" algn="l" defTabSz="994844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23562" indent="0" algn="l" defTabSz="994844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4pPr>
            <a:lvl5pPr marL="802855" indent="0" algn="l" defTabSz="994844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5pPr>
            <a:lvl6pPr marL="2016659" indent="-387147" algn="l" defTabSz="994844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6pPr>
            <a:lvl7pPr marL="2473618" indent="-387147" algn="l" defTabSz="994844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7pPr>
            <a:lvl8pPr marL="2930581" indent="-387147" algn="l" defTabSz="994844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8pPr>
            <a:lvl9pPr marL="3387540" indent="-387147" algn="l" defTabSz="994844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/>
              <a:t>https://paperswithcode.com/sota/collaborative-filtering-on-movielens-20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2F15163-EF27-BFF2-1944-E31DDDF0DB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1639" y="4008021"/>
            <a:ext cx="1080000" cy="1080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F9C37E20-4E02-0163-B87F-673808709A9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9FAFC"/>
              </a:clrFrom>
              <a:clrTo>
                <a:srgbClr val="F9FA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436211" y="5486654"/>
            <a:ext cx="1110856" cy="1080000"/>
          </a:xfrm>
          <a:prstGeom prst="rect">
            <a:avLst/>
          </a:prstGeom>
        </p:spPr>
      </p:pic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BAD1D21B-44BB-E72D-DEA8-694E252B41EA}"/>
              </a:ext>
            </a:extLst>
          </p:cNvPr>
          <p:cNvGrpSpPr/>
          <p:nvPr/>
        </p:nvGrpSpPr>
        <p:grpSpPr>
          <a:xfrm>
            <a:off x="10371665" y="4468128"/>
            <a:ext cx="656058" cy="1668545"/>
            <a:chOff x="7934854" y="6404218"/>
            <a:chExt cx="445041" cy="1132637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98DB6A2D-8265-CA48-3F56-B1D3E068BD43}"/>
                </a:ext>
              </a:extLst>
            </p:cNvPr>
            <p:cNvSpPr/>
            <p:nvPr/>
          </p:nvSpPr>
          <p:spPr bwMode="auto">
            <a:xfrm>
              <a:off x="7934854" y="6404218"/>
              <a:ext cx="445041" cy="113263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277" tIns="52454" rIns="102542" bIns="52454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4268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1799">
                <a:solidFill>
                  <a:schemeClr val="accent5"/>
                </a:solidFill>
                <a:latin typeface="Arial" charset="0"/>
              </a:endParaRPr>
            </a:p>
          </p:txBody>
        </p: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0E14D5E9-E319-B03B-7EA5-DF7898415F66}"/>
                </a:ext>
              </a:extLst>
            </p:cNvPr>
            <p:cNvGrpSpPr/>
            <p:nvPr/>
          </p:nvGrpSpPr>
          <p:grpSpPr>
            <a:xfrm rot="10800000">
              <a:off x="8037760" y="6646292"/>
              <a:ext cx="239229" cy="648489"/>
              <a:chOff x="710707" y="5652655"/>
              <a:chExt cx="525811" cy="1163780"/>
            </a:xfrm>
            <a:solidFill>
              <a:srgbClr val="C00000"/>
            </a:solidFill>
          </p:grpSpPr>
          <p:sp>
            <p:nvSpPr>
              <p:cNvPr id="36" name="Parallelogramm 35">
                <a:extLst>
                  <a:ext uri="{FF2B5EF4-FFF2-40B4-BE49-F238E27FC236}">
                    <a16:creationId xmlns:a16="http://schemas.microsoft.com/office/drawing/2014/main" id="{DD2D9AAD-76CA-3D76-CA2B-F9459A306BA8}"/>
                  </a:ext>
                </a:extLst>
              </p:cNvPr>
              <p:cNvSpPr/>
              <p:nvPr/>
            </p:nvSpPr>
            <p:spPr bwMode="auto">
              <a:xfrm>
                <a:off x="710707" y="5652655"/>
                <a:ext cx="525811" cy="581890"/>
              </a:xfrm>
              <a:prstGeom prst="parallelogram">
                <a:avLst>
                  <a:gd name="adj" fmla="val 46738"/>
                </a:avLst>
              </a:prstGeom>
              <a:solidFill>
                <a:srgbClr val="00206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04277" tIns="52454" rIns="102542" bIns="5245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9426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folHlink"/>
                  </a:buClr>
                  <a:buSzPct val="75000"/>
                </a:pPr>
                <a:endParaRPr lang="de-DE" sz="1799">
                  <a:solidFill>
                    <a:schemeClr val="tx2"/>
                  </a:solidFill>
                  <a:latin typeface="Arial" charset="0"/>
                </a:endParaRPr>
              </a:p>
            </p:txBody>
          </p:sp>
          <p:sp>
            <p:nvSpPr>
              <p:cNvPr id="37" name="Parallelogramm 36">
                <a:extLst>
                  <a:ext uri="{FF2B5EF4-FFF2-40B4-BE49-F238E27FC236}">
                    <a16:creationId xmlns:a16="http://schemas.microsoft.com/office/drawing/2014/main" id="{5D8313B4-D4A6-2F73-AEB5-A354421ACB15}"/>
                  </a:ext>
                </a:extLst>
              </p:cNvPr>
              <p:cNvSpPr/>
              <p:nvPr/>
            </p:nvSpPr>
            <p:spPr bwMode="auto">
              <a:xfrm flipH="1">
                <a:off x="710707" y="6234545"/>
                <a:ext cx="525403" cy="581890"/>
              </a:xfrm>
              <a:prstGeom prst="parallelogram">
                <a:avLst>
                  <a:gd name="adj" fmla="val 46738"/>
                </a:avLst>
              </a:prstGeom>
              <a:solidFill>
                <a:srgbClr val="00206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04277" tIns="52454" rIns="102542" bIns="5245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9426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folHlink"/>
                  </a:buClr>
                  <a:buSzPct val="75000"/>
                </a:pPr>
                <a:endParaRPr lang="de-DE" sz="1799">
                  <a:solidFill>
                    <a:schemeClr val="tx2"/>
                  </a:solidFill>
                  <a:latin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98017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51">
            <a:extLst>
              <a:ext uri="{FF2B5EF4-FFF2-40B4-BE49-F238E27FC236}">
                <a16:creationId xmlns:a16="http://schemas.microsoft.com/office/drawing/2014/main" id="{37A31358-C64D-BA4B-B76C-08DCCEFFF2BF}"/>
              </a:ext>
            </a:extLst>
          </p:cNvPr>
          <p:cNvSpPr txBox="1">
            <a:spLocks/>
          </p:cNvSpPr>
          <p:nvPr/>
        </p:nvSpPr>
        <p:spPr>
          <a:xfrm>
            <a:off x="323850" y="331812"/>
            <a:ext cx="12815888" cy="791513"/>
          </a:xfrm>
          <a:prstGeom prst="rect">
            <a:avLst/>
          </a:prstGeom>
        </p:spPr>
        <p:txBody>
          <a:bodyPr vert="horz" lIns="0" rIns="0" anchor="t"/>
          <a:lstStyle>
            <a:lvl1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400" b="1" kern="0" smtClean="0">
                <a:solidFill>
                  <a:schemeClr val="tx1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49429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6pPr>
            <a:lvl7pPr marL="898853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7pPr>
            <a:lvl8pPr marL="1348278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8pPr>
            <a:lvl9pPr marL="1797704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buClr>
                <a:srgbClr val="FF8000"/>
              </a:buClr>
            </a:pPr>
            <a:r>
              <a:rPr lang="en-GB" sz="1800">
                <a:solidFill>
                  <a:srgbClr val="002060"/>
                </a:solidFill>
              </a:rPr>
              <a:t>Evaluation and Results</a:t>
            </a:r>
          </a:p>
          <a:p>
            <a:pPr>
              <a:buClr>
                <a:srgbClr val="FF8000"/>
              </a:buClr>
            </a:pPr>
            <a:r>
              <a:rPr lang="en-GB" sz="2800">
                <a:solidFill>
                  <a:srgbClr val="002060"/>
                </a:solidFill>
              </a:rPr>
              <a:t>Benchmarks</a:t>
            </a:r>
            <a:endParaRPr lang="en-GB">
              <a:solidFill>
                <a:srgbClr val="002060"/>
              </a:solidFill>
            </a:endParaRPr>
          </a:p>
        </p:txBody>
      </p:sp>
      <p:sp>
        <p:nvSpPr>
          <p:cNvPr id="28" name="Textplatzhalter 49">
            <a:extLst>
              <a:ext uri="{FF2B5EF4-FFF2-40B4-BE49-F238E27FC236}">
                <a16:creationId xmlns:a16="http://schemas.microsoft.com/office/drawing/2014/main" id="{1707D6E5-FBC2-4348-8CCB-0F1B8C5B4AC0}"/>
              </a:ext>
            </a:extLst>
          </p:cNvPr>
          <p:cNvSpPr txBox="1">
            <a:spLocks/>
          </p:cNvSpPr>
          <p:nvPr/>
        </p:nvSpPr>
        <p:spPr>
          <a:xfrm>
            <a:off x="323849" y="43812"/>
            <a:ext cx="10061121" cy="283618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 defTabSz="978439" rtl="0" eaLnBrk="0" fontAlgn="base" hangingPunct="0"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sz="1600" b="1" baseline="0">
                <a:solidFill>
                  <a:schemeClr val="bg1">
                    <a:lumMod val="65000"/>
                  </a:schemeClr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495668" indent="-247834" algn="l" defTabSz="978439" rtl="0" eaLnBrk="0" fontAlgn="base" hangingPunct="0">
              <a:spcBef>
                <a:spcPts val="295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601882" indent="-212428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13280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4pPr>
            <a:lvl5pPr marL="789616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5pPr>
            <a:lvl6pPr marL="1983407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6pPr>
            <a:lvl7pPr marL="2432832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7pPr>
            <a:lvl8pPr marL="2882261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8pPr>
            <a:lvl9pPr marL="3331684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kern="0">
                <a:solidFill>
                  <a:srgbClr val="FFFFFF">
                    <a:lumMod val="65000"/>
                  </a:srgbClr>
                </a:solidFill>
              </a:rPr>
              <a:t>Results</a:t>
            </a:r>
            <a:endParaRPr lang="en-GB"/>
          </a:p>
        </p:txBody>
      </p:sp>
      <p:sp>
        <p:nvSpPr>
          <p:cNvPr id="17" name="Date Placeholder 5">
            <a:extLst>
              <a:ext uri="{FF2B5EF4-FFF2-40B4-BE49-F238E27FC236}">
                <a16:creationId xmlns:a16="http://schemas.microsoft.com/office/drawing/2014/main" id="{D7C184D3-A201-7C37-FC0C-B3150B8122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9201" y="7168438"/>
            <a:ext cx="4675860" cy="324000"/>
          </a:xfrm>
        </p:spPr>
        <p:txBody>
          <a:bodyPr/>
          <a:lstStyle/>
          <a:p>
            <a:r>
              <a:rPr lang="en-GB"/>
              <a:t> | Group 9 | Final Presentation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DC3AD97-0592-875B-6D98-AB5242596641}"/>
              </a:ext>
            </a:extLst>
          </p:cNvPr>
          <p:cNvCxnSpPr/>
          <p:nvPr/>
        </p:nvCxnSpPr>
        <p:spPr bwMode="auto">
          <a:xfrm>
            <a:off x="-11151" y="1215489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0D19F8C-9B53-EDE3-1E9F-870FAACC4B84}"/>
              </a:ext>
            </a:extLst>
          </p:cNvPr>
          <p:cNvCxnSpPr/>
          <p:nvPr/>
        </p:nvCxnSpPr>
        <p:spPr bwMode="auto">
          <a:xfrm>
            <a:off x="-16287" y="7088464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Parallelogramm 7">
            <a:extLst>
              <a:ext uri="{FF2B5EF4-FFF2-40B4-BE49-F238E27FC236}">
                <a16:creationId xmlns:a16="http://schemas.microsoft.com/office/drawing/2014/main" id="{9FFCB8F6-1E50-0FA7-2414-994754256684}"/>
              </a:ext>
            </a:extLst>
          </p:cNvPr>
          <p:cNvSpPr/>
          <p:nvPr/>
        </p:nvSpPr>
        <p:spPr bwMode="auto">
          <a:xfrm>
            <a:off x="11555793" y="1332171"/>
            <a:ext cx="741749" cy="1352839"/>
          </a:xfrm>
          <a:prstGeom prst="parallelogram">
            <a:avLst>
              <a:gd name="adj" fmla="val 7526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63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526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379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05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6319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758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4884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11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9" name="Dreieck 34">
            <a:extLst>
              <a:ext uri="{FF2B5EF4-FFF2-40B4-BE49-F238E27FC236}">
                <a16:creationId xmlns:a16="http://schemas.microsoft.com/office/drawing/2014/main" id="{CBDF1828-8488-36D4-57BE-FF7AD88D25F8}"/>
              </a:ext>
            </a:extLst>
          </p:cNvPr>
          <p:cNvSpPr/>
          <p:nvPr/>
        </p:nvSpPr>
        <p:spPr bwMode="auto">
          <a:xfrm>
            <a:off x="11926668" y="1274297"/>
            <a:ext cx="1267645" cy="1579431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63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526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379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05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6319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758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4884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11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91EF81D5-FEC3-1975-A39B-406C029E0AF3}"/>
              </a:ext>
            </a:extLst>
          </p:cNvPr>
          <p:cNvSpPr/>
          <p:nvPr/>
        </p:nvSpPr>
        <p:spPr bwMode="auto">
          <a:xfrm>
            <a:off x="638842" y="5201138"/>
            <a:ext cx="5398177" cy="8808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4400" tIns="52516" rIns="102663" bIns="52516" numCol="1" rtlCol="0" anchor="t" anchorCtr="0" compatLnSpc="1">
            <a:prstTxWarp prst="textNoShape">
              <a:avLst/>
            </a:prstTxWarp>
          </a:bodyPr>
          <a:lstStyle/>
          <a:p>
            <a:pPr defTabSz="995363" fontAlgn="base">
              <a:spcBef>
                <a:spcPct val="0"/>
              </a:spcBef>
              <a:spcAft>
                <a:spcPts val="600"/>
              </a:spcAft>
              <a:buClr>
                <a:srgbClr val="002060"/>
              </a:buClr>
              <a:buSzPct val="75000"/>
            </a:pPr>
            <a:r>
              <a:rPr lang="en-US" sz="2000" b="1">
                <a:solidFill>
                  <a:srgbClr val="002060"/>
                </a:solidFill>
                <a:latin typeface="Arial" charset="0"/>
              </a:rPr>
              <a:t>MovieLens20M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>
                <a:latin typeface="Arial" charset="0"/>
              </a:rPr>
              <a:t>GRAEM: 			 </a:t>
            </a:r>
            <a:r>
              <a:rPr lang="en-US" sz="1800" b="1">
                <a:latin typeface="Arial" charset="0"/>
              </a:rPr>
              <a:t>0.7887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00EC16B-C378-9CAD-C942-4BBADF6C7DC1}"/>
              </a:ext>
            </a:extLst>
          </p:cNvPr>
          <p:cNvSpPr/>
          <p:nvPr/>
        </p:nvSpPr>
        <p:spPr bwMode="auto">
          <a:xfrm>
            <a:off x="7128998" y="1473393"/>
            <a:ext cx="5028736" cy="168942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4400" tIns="52516" rIns="102663" bIns="52516" numCol="1" rtlCol="0" anchor="t" anchorCtr="0" compatLnSpc="1">
            <a:prstTxWarp prst="textNoShape">
              <a:avLst/>
            </a:prstTxWarp>
          </a:bodyPr>
          <a:lstStyle/>
          <a:p>
            <a:pPr defTabSz="995363" fontAlgn="base">
              <a:spcBef>
                <a:spcPct val="0"/>
              </a:spcBef>
              <a:spcAft>
                <a:spcPts val="600"/>
              </a:spcAft>
              <a:buClr>
                <a:srgbClr val="002060"/>
              </a:buClr>
              <a:buSzPct val="75000"/>
            </a:pPr>
            <a:r>
              <a:rPr lang="en-US" sz="2000" b="1">
                <a:solidFill>
                  <a:srgbClr val="002060"/>
                </a:solidFill>
                <a:latin typeface="Arial" charset="0"/>
              </a:rPr>
              <a:t>MovieLens10M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>
                <a:latin typeface="Arial" charset="0"/>
              </a:rPr>
              <a:t>Bayesian </a:t>
            </a:r>
            <a:r>
              <a:rPr lang="en-US" sz="1800" err="1">
                <a:latin typeface="Arial" charset="0"/>
              </a:rPr>
              <a:t>timeSVD</a:t>
            </a:r>
            <a:r>
              <a:rPr lang="en-US" sz="1800">
                <a:latin typeface="Arial" charset="0"/>
              </a:rPr>
              <a:t>++ flipped: 	</a:t>
            </a:r>
            <a:r>
              <a:rPr lang="en-US" sz="1800" b="1">
                <a:latin typeface="Arial" charset="0"/>
              </a:rPr>
              <a:t>0.7485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>
                <a:latin typeface="Arial" charset="0"/>
              </a:rPr>
              <a:t>Bayesian </a:t>
            </a:r>
            <a:r>
              <a:rPr lang="en-US" sz="1800" err="1">
                <a:latin typeface="Arial" charset="0"/>
              </a:rPr>
              <a:t>timeSVD</a:t>
            </a:r>
            <a:r>
              <a:rPr lang="en-US" sz="1800">
                <a:latin typeface="Arial" charset="0"/>
              </a:rPr>
              <a:t>++: 		0.7523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>
                <a:latin typeface="Arial" charset="0"/>
              </a:rPr>
              <a:t>Bayesian SVD++: 		0.7563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>
                <a:latin typeface="Arial" charset="0"/>
              </a:rPr>
              <a:t>MRMA: 			0.7634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D7627BD3-53AE-E678-AC17-E91BAC8536AD}"/>
              </a:ext>
            </a:extLst>
          </p:cNvPr>
          <p:cNvSpPr/>
          <p:nvPr/>
        </p:nvSpPr>
        <p:spPr bwMode="auto">
          <a:xfrm>
            <a:off x="7131251" y="3351570"/>
            <a:ext cx="5028736" cy="16558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4400" tIns="52516" rIns="102663" bIns="52516" numCol="1" rtlCol="0" anchor="t" anchorCtr="0" compatLnSpc="1">
            <a:prstTxWarp prst="textNoShape">
              <a:avLst/>
            </a:prstTxWarp>
          </a:bodyPr>
          <a:lstStyle/>
          <a:p>
            <a:pPr defTabSz="995363" fontAlgn="base">
              <a:spcBef>
                <a:spcPct val="0"/>
              </a:spcBef>
              <a:spcAft>
                <a:spcPts val="600"/>
              </a:spcAft>
              <a:buClr>
                <a:srgbClr val="002060"/>
              </a:buClr>
              <a:buSzPct val="75000"/>
            </a:pPr>
            <a:r>
              <a:rPr lang="en-US" sz="2000" b="1">
                <a:solidFill>
                  <a:srgbClr val="002060"/>
                </a:solidFill>
                <a:latin typeface="Arial" charset="0"/>
              </a:rPr>
              <a:t>MovieLens1M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 err="1">
                <a:latin typeface="Arial" charset="0"/>
              </a:rPr>
              <a:t>GLocal</a:t>
            </a:r>
            <a:r>
              <a:rPr lang="en-US" sz="1800">
                <a:latin typeface="Arial" charset="0"/>
              </a:rPr>
              <a:t>-K: 			</a:t>
            </a:r>
            <a:r>
              <a:rPr lang="en-US" sz="1800" b="1">
                <a:latin typeface="Arial" charset="0"/>
              </a:rPr>
              <a:t>0.8227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>
                <a:latin typeface="Arial" charset="0"/>
              </a:rPr>
              <a:t>Sparse FC: 			0.824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>
                <a:latin typeface="Arial" charset="0"/>
              </a:rPr>
              <a:t>CF-NADE: 			0.829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>
                <a:latin typeface="Arial" charset="0"/>
              </a:rPr>
              <a:t>IMC-GAE: 			0.829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A95709A9-7C26-D062-228F-A84E22E5E894}"/>
              </a:ext>
            </a:extLst>
          </p:cNvPr>
          <p:cNvSpPr/>
          <p:nvPr/>
        </p:nvSpPr>
        <p:spPr bwMode="auto">
          <a:xfrm>
            <a:off x="7131251" y="5201138"/>
            <a:ext cx="5028736" cy="16517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4400" tIns="52516" rIns="102663" bIns="52516" numCol="1" rtlCol="0" anchor="t" anchorCtr="0" compatLnSpc="1">
            <a:prstTxWarp prst="textNoShape">
              <a:avLst/>
            </a:prstTxWarp>
          </a:bodyPr>
          <a:lstStyle/>
          <a:p>
            <a:pPr defTabSz="995363" fontAlgn="base">
              <a:spcBef>
                <a:spcPct val="0"/>
              </a:spcBef>
              <a:spcAft>
                <a:spcPts val="600"/>
              </a:spcAft>
              <a:buClr>
                <a:srgbClr val="002060"/>
              </a:buClr>
              <a:buSzPct val="75000"/>
            </a:pPr>
            <a:r>
              <a:rPr lang="en-US" sz="2000" b="1">
                <a:solidFill>
                  <a:srgbClr val="002060"/>
                </a:solidFill>
                <a:latin typeface="Arial" charset="0"/>
              </a:rPr>
              <a:t>MovieLens400K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>
                <a:latin typeface="Arial" charset="0"/>
              </a:rPr>
              <a:t>GHRS: 			</a:t>
            </a:r>
            <a:r>
              <a:rPr lang="en-US" sz="1800" b="1">
                <a:latin typeface="Arial" charset="0"/>
              </a:rPr>
              <a:t>0.887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 err="1">
                <a:latin typeface="Arial" charset="0"/>
              </a:rPr>
              <a:t>GLocal</a:t>
            </a:r>
            <a:r>
              <a:rPr lang="en-US" sz="1800">
                <a:latin typeface="Arial" charset="0"/>
              </a:rPr>
              <a:t>-K: 			0.8889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>
                <a:latin typeface="Arial" charset="0"/>
              </a:rPr>
              <a:t>MG-GAT.			0.890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 err="1">
                <a:latin typeface="Arial" charset="0"/>
              </a:rPr>
              <a:t>GraphRec</a:t>
            </a:r>
            <a:r>
              <a:rPr lang="en-US" sz="1800">
                <a:latin typeface="Arial" charset="0"/>
              </a:rPr>
              <a:t> + Feat: 		0.897</a:t>
            </a:r>
          </a:p>
        </p:txBody>
      </p:sp>
      <p:sp>
        <p:nvSpPr>
          <p:cNvPr id="44" name="Inhaltsplatzhalter 4">
            <a:extLst>
              <a:ext uri="{FF2B5EF4-FFF2-40B4-BE49-F238E27FC236}">
                <a16:creationId xmlns:a16="http://schemas.microsoft.com/office/drawing/2014/main" id="{D1482537-9EC5-DD93-8CE6-CA67B50BD92C}"/>
              </a:ext>
            </a:extLst>
          </p:cNvPr>
          <p:cNvSpPr txBox="1">
            <a:spLocks/>
          </p:cNvSpPr>
          <p:nvPr/>
        </p:nvSpPr>
        <p:spPr>
          <a:xfrm>
            <a:off x="611899" y="6846506"/>
            <a:ext cx="12100423" cy="246221"/>
          </a:xfrm>
          <a:prstGeom prst="rect">
            <a:avLst/>
          </a:prstGeom>
        </p:spPr>
        <p:txBody>
          <a:bodyPr wrap="square" lIns="0" rtlCol="0">
            <a:spAutoFit/>
          </a:bodyPr>
          <a:lstStyle>
            <a:lvl1pPr marL="342721" indent="-342721" algn="l" defTabSz="994844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defRPr lang="en-GB" sz="10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5547" indent="-456963" algn="l" defTabSz="994844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10000"/>
              <a:buFont typeface="Symbol" charset="2"/>
              <a:buChar char="-"/>
              <a:defRPr sz="290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645775" indent="-285601" algn="l" defTabSz="994844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23562" indent="0" algn="l" defTabSz="994844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4pPr>
            <a:lvl5pPr marL="802855" indent="0" algn="l" defTabSz="994844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5pPr>
            <a:lvl6pPr marL="2016659" indent="-387147" algn="l" defTabSz="994844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6pPr>
            <a:lvl7pPr marL="2473618" indent="-387147" algn="l" defTabSz="994844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7pPr>
            <a:lvl8pPr marL="2930581" indent="-387147" algn="l" defTabSz="994844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8pPr>
            <a:lvl9pPr marL="3387540" indent="-387147" algn="l" defTabSz="994844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/>
              <a:t>https://paperswithcode.com/task/recommendation-systems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C05098F-488A-D611-2DC2-F00C1E45B21E}"/>
              </a:ext>
            </a:extLst>
          </p:cNvPr>
          <p:cNvSpPr/>
          <p:nvPr/>
        </p:nvSpPr>
        <p:spPr bwMode="auto">
          <a:xfrm>
            <a:off x="637019" y="1451114"/>
            <a:ext cx="5400000" cy="3556329"/>
          </a:xfrm>
          <a:prstGeom prst="rect">
            <a:avLst/>
          </a:prstGeom>
          <a:solidFill>
            <a:schemeClr val="bg1"/>
          </a:solidFill>
          <a:ln w="158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78160" tIns="39317" rIns="76858" bIns="39317" numCol="1" rtlCol="0" anchor="ctr" anchorCtr="0" compatLnSpc="1">
            <a:prstTxWarp prst="textNoShape">
              <a:avLst/>
            </a:prstTxWarp>
          </a:bodyPr>
          <a:lstStyle/>
          <a:p>
            <a:pPr algn="ctr" defTabSz="745236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sz="1348">
              <a:solidFill>
                <a:srgbClr val="646464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28BC01FF-A863-3EB9-4B99-9A3CE63693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117" y="3533411"/>
            <a:ext cx="5123893" cy="1235610"/>
          </a:xfrm>
          <a:prstGeom prst="rect">
            <a:avLst/>
          </a:prstGeom>
        </p:spPr>
      </p:pic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7B15D0AD-C88F-55E4-1FEC-ADC3E88C9C2C}"/>
              </a:ext>
            </a:extLst>
          </p:cNvPr>
          <p:cNvGrpSpPr/>
          <p:nvPr/>
        </p:nvGrpSpPr>
        <p:grpSpPr>
          <a:xfrm>
            <a:off x="763570" y="1546620"/>
            <a:ext cx="1836000" cy="450121"/>
            <a:chOff x="840689" y="2461013"/>
            <a:chExt cx="1836000" cy="450121"/>
          </a:xfrm>
        </p:grpSpPr>
        <p:sp>
          <p:nvSpPr>
            <p:cNvPr id="32" name="AutoShape 2">
              <a:extLst>
                <a:ext uri="{FF2B5EF4-FFF2-40B4-BE49-F238E27FC236}">
                  <a16:creationId xmlns:a16="http://schemas.microsoft.com/office/drawing/2014/main" id="{582A8F27-832E-03C4-5DC5-D940B82CDC5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0689" y="2532187"/>
              <a:ext cx="1800000" cy="318924"/>
            </a:xfrm>
            <a:prstGeom prst="rect">
              <a:avLst/>
            </a:prstGeom>
            <a:noFill/>
            <a:ln w="10795">
              <a:noFill/>
              <a:round/>
              <a:headEnd/>
              <a:tailEnd/>
            </a:ln>
            <a:effectLst/>
          </p:spPr>
          <p:txBody>
            <a:bodyPr wrap="square" lIns="36000" tIns="36000" rIns="36000" bIns="36000" anchor="ctr">
              <a:spAutoFit/>
            </a:bodyPr>
            <a:lstStyle/>
            <a:p>
              <a:pPr algn="ctr"/>
              <a:r>
                <a:rPr lang="en-GB" sz="1600" b="1">
                  <a:solidFill>
                    <a:srgbClr val="002060"/>
                  </a:solidFill>
                </a:rPr>
                <a:t>Reminder</a:t>
              </a:r>
            </a:p>
          </p:txBody>
        </p:sp>
        <p:cxnSp>
          <p:nvCxnSpPr>
            <p:cNvPr id="33" name="Gerade Verbindung 100">
              <a:extLst>
                <a:ext uri="{FF2B5EF4-FFF2-40B4-BE49-F238E27FC236}">
                  <a16:creationId xmlns:a16="http://schemas.microsoft.com/office/drawing/2014/main" id="{7C549E3F-E7ED-1698-6950-C6E20EC9DB09}"/>
                </a:ext>
              </a:extLst>
            </p:cNvPr>
            <p:cNvCxnSpPr/>
            <p:nvPr/>
          </p:nvCxnSpPr>
          <p:spPr bwMode="auto">
            <a:xfrm>
              <a:off x="840689" y="2461013"/>
              <a:ext cx="1836000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101">
              <a:extLst>
                <a:ext uri="{FF2B5EF4-FFF2-40B4-BE49-F238E27FC236}">
                  <a16:creationId xmlns:a16="http://schemas.microsoft.com/office/drawing/2014/main" id="{58D192B4-41E1-BE7B-5550-F31D8BA965B2}"/>
                </a:ext>
              </a:extLst>
            </p:cNvPr>
            <p:cNvCxnSpPr/>
            <p:nvPr/>
          </p:nvCxnSpPr>
          <p:spPr bwMode="auto">
            <a:xfrm>
              <a:off x="840689" y="2911134"/>
              <a:ext cx="1836000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6" name="Rechteck 45">
            <a:extLst>
              <a:ext uri="{FF2B5EF4-FFF2-40B4-BE49-F238E27FC236}">
                <a16:creationId xmlns:a16="http://schemas.microsoft.com/office/drawing/2014/main" id="{6562052C-BB7E-B93C-7A4D-9F69A67F89C8}"/>
              </a:ext>
            </a:extLst>
          </p:cNvPr>
          <p:cNvSpPr/>
          <p:nvPr/>
        </p:nvSpPr>
        <p:spPr bwMode="auto">
          <a:xfrm>
            <a:off x="4662146" y="4445203"/>
            <a:ext cx="1014761" cy="323818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8DFA4051-7657-5625-B4FB-B636147A2D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5664" y="2146627"/>
            <a:ext cx="4480001" cy="1260000"/>
          </a:xfrm>
          <a:prstGeom prst="rect">
            <a:avLst/>
          </a:prstGeom>
        </p:spPr>
      </p:pic>
      <p:sp>
        <p:nvSpPr>
          <p:cNvPr id="51" name="Rechteck 50">
            <a:extLst>
              <a:ext uri="{FF2B5EF4-FFF2-40B4-BE49-F238E27FC236}">
                <a16:creationId xmlns:a16="http://schemas.microsoft.com/office/drawing/2014/main" id="{975A721E-97DD-5B85-84CC-1510C673072F}"/>
              </a:ext>
            </a:extLst>
          </p:cNvPr>
          <p:cNvSpPr/>
          <p:nvPr/>
        </p:nvSpPr>
        <p:spPr bwMode="auto">
          <a:xfrm>
            <a:off x="4648417" y="3091781"/>
            <a:ext cx="1014761" cy="323818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2B9704E1-4D8B-627B-7C92-04F65C55DCC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3490"/>
          <a:stretch/>
        </p:blipFill>
        <p:spPr>
          <a:xfrm>
            <a:off x="763569" y="2148466"/>
            <a:ext cx="1630978" cy="125640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F7D0BA03-94DE-5697-5E01-41AB1FAB3B9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076" r="63490"/>
          <a:stretch/>
        </p:blipFill>
        <p:spPr>
          <a:xfrm>
            <a:off x="2380038" y="2145908"/>
            <a:ext cx="631277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5346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9D8E9F8C-A3CD-8D10-5CA0-7CBB7A6B25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13447713" cy="7564339"/>
          </a:xfrm>
          <a:prstGeom prst="rect">
            <a:avLst/>
          </a:prstGeom>
        </p:spPr>
      </p:pic>
      <p:sp>
        <p:nvSpPr>
          <p:cNvPr id="9" name="Rechteck 3">
            <a:extLst>
              <a:ext uri="{FF2B5EF4-FFF2-40B4-BE49-F238E27FC236}">
                <a16:creationId xmlns:a16="http://schemas.microsoft.com/office/drawing/2014/main" id="{3BB54962-125B-EC47-912F-C2CD5529D9B0}"/>
              </a:ext>
            </a:extLst>
          </p:cNvPr>
          <p:cNvSpPr/>
          <p:nvPr/>
        </p:nvSpPr>
        <p:spPr>
          <a:xfrm>
            <a:off x="-2" y="0"/>
            <a:ext cx="13447713" cy="756443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316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84B3BDE1-D8E7-D84E-AD17-7CD9B8B4916B}"/>
              </a:ext>
            </a:extLst>
          </p:cNvPr>
          <p:cNvCxnSpPr>
            <a:cxnSpLocks/>
          </p:cNvCxnSpPr>
          <p:nvPr/>
        </p:nvCxnSpPr>
        <p:spPr bwMode="auto">
          <a:xfrm>
            <a:off x="1255083" y="3436923"/>
            <a:ext cx="3467365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B813D599-F42F-0F47-A915-60E4C6B69022}"/>
              </a:ext>
            </a:extLst>
          </p:cNvPr>
          <p:cNvCxnSpPr>
            <a:cxnSpLocks/>
          </p:cNvCxnSpPr>
          <p:nvPr/>
        </p:nvCxnSpPr>
        <p:spPr bwMode="auto">
          <a:xfrm>
            <a:off x="8673697" y="3436923"/>
            <a:ext cx="3467365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A17DAAC7-66A0-9345-AE58-28EDAC662B97}"/>
              </a:ext>
            </a:extLst>
          </p:cNvPr>
          <p:cNvSpPr txBox="1"/>
          <p:nvPr/>
        </p:nvSpPr>
        <p:spPr>
          <a:xfrm>
            <a:off x="5167982" y="2618640"/>
            <a:ext cx="3111749" cy="1569660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US" sz="9600" b="1" kern="0">
                <a:solidFill>
                  <a:srgbClr val="002060"/>
                </a:solidFill>
                <a:latin typeface="Georgia" panose="02040502050405020303" pitchFamily="18" charset="0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874743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C65B7F4-6293-DC41-9CFC-245F67E589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C41ADEA-A619-E540-A93F-56AAAB823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E59BC7B-44DD-394F-8CC5-3764DA693F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4D8D99-31A6-CE44-A4D9-5366428C25E9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Rechteck 3">
            <a:extLst>
              <a:ext uri="{FF2B5EF4-FFF2-40B4-BE49-F238E27FC236}">
                <a16:creationId xmlns:a16="http://schemas.microsoft.com/office/drawing/2014/main" id="{1F62F35F-4DBA-1949-821E-08FC4CD7FD7B}"/>
              </a:ext>
            </a:extLst>
          </p:cNvPr>
          <p:cNvSpPr/>
          <p:nvPr/>
        </p:nvSpPr>
        <p:spPr>
          <a:xfrm>
            <a:off x="-794" y="0"/>
            <a:ext cx="13447713" cy="7564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316"/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id="{BE0F0CA0-9F76-424D-B8C8-30D3757557F4}"/>
              </a:ext>
            </a:extLst>
          </p:cNvPr>
          <p:cNvSpPr/>
          <p:nvPr/>
        </p:nvSpPr>
        <p:spPr bwMode="auto">
          <a:xfrm>
            <a:off x="7264479" y="2112426"/>
            <a:ext cx="5614838" cy="897730"/>
          </a:xfrm>
          <a:prstGeom prst="rect">
            <a:avLst/>
          </a:prstGeom>
          <a:solidFill>
            <a:schemeClr val="accent4">
              <a:lumMod val="50000"/>
              <a:alpha val="63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605" tIns="50303" rIns="100605" bIns="503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22296" lvl="1" defTabSz="1039864"/>
            <a:r>
              <a:rPr lang="de-DE" sz="2394" b="1">
                <a:solidFill>
                  <a:srgbClr val="FFFFFF"/>
                </a:solidFill>
                <a:latin typeface="Tahoma"/>
              </a:rPr>
              <a:t>Dataset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49C70B37-0CE0-064F-AE72-7A65C1AE6FAB}"/>
              </a:ext>
            </a:extLst>
          </p:cNvPr>
          <p:cNvSpPr/>
          <p:nvPr/>
        </p:nvSpPr>
        <p:spPr bwMode="auto">
          <a:xfrm>
            <a:off x="7264479" y="3391027"/>
            <a:ext cx="5614838" cy="897730"/>
          </a:xfrm>
          <a:prstGeom prst="rect">
            <a:avLst/>
          </a:prstGeom>
          <a:solidFill>
            <a:schemeClr val="accent4">
              <a:lumMod val="50000"/>
              <a:alpha val="63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605" tIns="50303" rIns="100605" bIns="503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22296" lvl="1" defTabSz="1039864"/>
            <a:r>
              <a:rPr lang="en-GB" sz="2394" b="1">
                <a:solidFill>
                  <a:srgbClr val="FFFFFF"/>
                </a:solidFill>
                <a:latin typeface="Tahoma"/>
              </a:rPr>
              <a:t>Recommendation</a:t>
            </a:r>
            <a:r>
              <a:rPr lang="de-DE" sz="2394" b="1">
                <a:solidFill>
                  <a:srgbClr val="FFFFFF"/>
                </a:solidFill>
                <a:latin typeface="Tahoma"/>
              </a:rPr>
              <a:t> System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8D9CD8C6-4DFD-3E48-863A-3C6A0D0A4E16}"/>
              </a:ext>
            </a:extLst>
          </p:cNvPr>
          <p:cNvSpPr/>
          <p:nvPr/>
        </p:nvSpPr>
        <p:spPr bwMode="auto">
          <a:xfrm>
            <a:off x="7264479" y="4669628"/>
            <a:ext cx="5614838" cy="897730"/>
          </a:xfrm>
          <a:prstGeom prst="rect">
            <a:avLst/>
          </a:prstGeom>
          <a:solidFill>
            <a:schemeClr val="accent4">
              <a:lumMod val="50000"/>
              <a:alpha val="63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605" tIns="50303" rIns="100605" bIns="503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22296" lvl="1" defTabSz="1039864"/>
            <a:r>
              <a:rPr lang="en-GB" sz="2394" b="1">
                <a:solidFill>
                  <a:srgbClr val="FFFFFF"/>
                </a:solidFill>
                <a:latin typeface="Tahoma"/>
              </a:rPr>
              <a:t>Results</a:t>
            </a:r>
          </a:p>
        </p:txBody>
      </p:sp>
      <p:sp>
        <p:nvSpPr>
          <p:cNvPr id="10" name="Textfeld 27">
            <a:extLst>
              <a:ext uri="{FF2B5EF4-FFF2-40B4-BE49-F238E27FC236}">
                <a16:creationId xmlns:a16="http://schemas.microsoft.com/office/drawing/2014/main" id="{7F6FC69D-5570-8C4A-8297-800323F9FA12}"/>
              </a:ext>
            </a:extLst>
          </p:cNvPr>
          <p:cNvSpPr txBox="1"/>
          <p:nvPr/>
        </p:nvSpPr>
        <p:spPr>
          <a:xfrm>
            <a:off x="7264480" y="2130189"/>
            <a:ext cx="532878" cy="862213"/>
          </a:xfrm>
          <a:prstGeom prst="rect">
            <a:avLst/>
          </a:prstGeom>
          <a:noFill/>
        </p:spPr>
        <p:txBody>
          <a:bodyPr wrap="square" lIns="143636" tIns="107663" rIns="0" bIns="107663" rtlCol="0" anchor="ctr">
            <a:spAutoFit/>
          </a:bodyPr>
          <a:lstStyle>
            <a:defPPr>
              <a:defRPr lang="de-DE"/>
            </a:defPPr>
            <a:lvl1pPr defTabSz="91417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  <a:defRPr sz="1800" b="1">
                <a:ea typeface="ＭＳ Ｐゴシック" charset="0"/>
                <a:cs typeface="Tahoma"/>
              </a:defRPr>
            </a:lvl1pPr>
          </a:lstStyle>
          <a:p>
            <a:pPr defTabSz="911839">
              <a:tabLst>
                <a:tab pos="446263" algn="l"/>
                <a:tab pos="536468" algn="l"/>
              </a:tabLst>
            </a:pPr>
            <a:r>
              <a:rPr lang="de-DE" sz="4190">
                <a:solidFill>
                  <a:srgbClr val="FFFFFF"/>
                </a:solidFill>
                <a:latin typeface="Tahoma"/>
              </a:rPr>
              <a:t>1</a:t>
            </a:r>
          </a:p>
        </p:txBody>
      </p:sp>
      <p:sp>
        <p:nvSpPr>
          <p:cNvPr id="11" name="Textfeld 27">
            <a:extLst>
              <a:ext uri="{FF2B5EF4-FFF2-40B4-BE49-F238E27FC236}">
                <a16:creationId xmlns:a16="http://schemas.microsoft.com/office/drawing/2014/main" id="{D23ED5DF-773B-7B4A-9D52-CACCECBF7A3D}"/>
              </a:ext>
            </a:extLst>
          </p:cNvPr>
          <p:cNvSpPr txBox="1"/>
          <p:nvPr/>
        </p:nvSpPr>
        <p:spPr>
          <a:xfrm>
            <a:off x="7264480" y="4687388"/>
            <a:ext cx="532878" cy="862213"/>
          </a:xfrm>
          <a:prstGeom prst="rect">
            <a:avLst/>
          </a:prstGeom>
          <a:noFill/>
        </p:spPr>
        <p:txBody>
          <a:bodyPr wrap="square" lIns="143636" tIns="107663" rIns="0" bIns="107663" rtlCol="0" anchor="ctr">
            <a:spAutoFit/>
          </a:bodyPr>
          <a:lstStyle>
            <a:defPPr>
              <a:defRPr lang="de-DE"/>
            </a:defPPr>
            <a:lvl1pPr defTabSz="91417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  <a:defRPr sz="1800" b="1">
                <a:ea typeface="ＭＳ Ｐゴシック" charset="0"/>
                <a:cs typeface="Tahoma"/>
              </a:defRPr>
            </a:lvl1pPr>
          </a:lstStyle>
          <a:p>
            <a:pPr defTabSz="911839">
              <a:tabLst>
                <a:tab pos="446263" algn="l"/>
                <a:tab pos="536468" algn="l"/>
              </a:tabLst>
            </a:pPr>
            <a:r>
              <a:rPr lang="de-DE" sz="4190">
                <a:solidFill>
                  <a:srgbClr val="FFFFFF"/>
                </a:solidFill>
                <a:latin typeface="Tahoma"/>
              </a:rPr>
              <a:t>3</a:t>
            </a:r>
          </a:p>
        </p:txBody>
      </p:sp>
      <p:sp>
        <p:nvSpPr>
          <p:cNvPr id="12" name="Textfeld 27">
            <a:extLst>
              <a:ext uri="{FF2B5EF4-FFF2-40B4-BE49-F238E27FC236}">
                <a16:creationId xmlns:a16="http://schemas.microsoft.com/office/drawing/2014/main" id="{A71B15A4-657F-354E-ADF2-081300E926EB}"/>
              </a:ext>
            </a:extLst>
          </p:cNvPr>
          <p:cNvSpPr txBox="1"/>
          <p:nvPr/>
        </p:nvSpPr>
        <p:spPr>
          <a:xfrm>
            <a:off x="7264480" y="3408788"/>
            <a:ext cx="532878" cy="862213"/>
          </a:xfrm>
          <a:prstGeom prst="rect">
            <a:avLst/>
          </a:prstGeom>
          <a:noFill/>
        </p:spPr>
        <p:txBody>
          <a:bodyPr wrap="square" lIns="143636" tIns="107663" rIns="0" bIns="107663" rtlCol="0" anchor="ctr">
            <a:spAutoFit/>
          </a:bodyPr>
          <a:lstStyle>
            <a:defPPr>
              <a:defRPr lang="de-DE"/>
            </a:defPPr>
            <a:lvl1pPr defTabSz="91417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  <a:defRPr sz="1800" b="1">
                <a:ea typeface="ＭＳ Ｐゴシック" charset="0"/>
                <a:cs typeface="Tahoma"/>
              </a:defRPr>
            </a:lvl1pPr>
          </a:lstStyle>
          <a:p>
            <a:pPr defTabSz="911839">
              <a:tabLst>
                <a:tab pos="446263" algn="l"/>
                <a:tab pos="536468" algn="l"/>
              </a:tabLst>
            </a:pPr>
            <a:r>
              <a:rPr lang="de-DE" sz="4190">
                <a:solidFill>
                  <a:srgbClr val="FFFFFF"/>
                </a:solidFill>
                <a:latin typeface="Tahoma"/>
              </a:rPr>
              <a:t>2</a:t>
            </a:r>
          </a:p>
        </p:txBody>
      </p:sp>
      <p:sp>
        <p:nvSpPr>
          <p:cNvPr id="13" name="Textfeld 27">
            <a:extLst>
              <a:ext uri="{FF2B5EF4-FFF2-40B4-BE49-F238E27FC236}">
                <a16:creationId xmlns:a16="http://schemas.microsoft.com/office/drawing/2014/main" id="{CE96757E-B696-054F-B67F-2255C34284CB}"/>
              </a:ext>
            </a:extLst>
          </p:cNvPr>
          <p:cNvSpPr txBox="1"/>
          <p:nvPr/>
        </p:nvSpPr>
        <p:spPr>
          <a:xfrm>
            <a:off x="7264480" y="5965991"/>
            <a:ext cx="532878" cy="862213"/>
          </a:xfrm>
          <a:prstGeom prst="rect">
            <a:avLst/>
          </a:prstGeom>
          <a:noFill/>
        </p:spPr>
        <p:txBody>
          <a:bodyPr wrap="square" lIns="143636" tIns="107663" rIns="0" bIns="107663" rtlCol="0" anchor="ctr">
            <a:spAutoFit/>
          </a:bodyPr>
          <a:lstStyle>
            <a:defPPr>
              <a:defRPr lang="de-DE"/>
            </a:defPPr>
            <a:lvl1pPr defTabSz="91417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  <a:defRPr sz="1800" b="1">
                <a:ea typeface="ＭＳ Ｐゴシック" charset="0"/>
                <a:cs typeface="Tahoma"/>
              </a:defRPr>
            </a:lvl1pPr>
          </a:lstStyle>
          <a:p>
            <a:pPr defTabSz="911839">
              <a:tabLst>
                <a:tab pos="446263" algn="l"/>
                <a:tab pos="536468" algn="l"/>
              </a:tabLst>
            </a:pPr>
            <a:r>
              <a:rPr lang="de-DE" sz="4190">
                <a:solidFill>
                  <a:srgbClr val="FFFFFF"/>
                </a:solidFill>
                <a:latin typeface="Tahoma"/>
              </a:rPr>
              <a:t>4</a:t>
            </a:r>
          </a:p>
        </p:txBody>
      </p:sp>
      <p:sp>
        <p:nvSpPr>
          <p:cNvPr id="14" name="Titel 5">
            <a:extLst>
              <a:ext uri="{FF2B5EF4-FFF2-40B4-BE49-F238E27FC236}">
                <a16:creationId xmlns:a16="http://schemas.microsoft.com/office/drawing/2014/main" id="{650921DC-8B6D-8546-AE9B-2A13BF42CB29}"/>
              </a:ext>
            </a:extLst>
          </p:cNvPr>
          <p:cNvSpPr txBox="1">
            <a:spLocks/>
          </p:cNvSpPr>
          <p:nvPr/>
        </p:nvSpPr>
        <p:spPr>
          <a:xfrm>
            <a:off x="7264479" y="1151760"/>
            <a:ext cx="10276926" cy="646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39499" rIns="0" bIns="0" numCol="1" anchor="b" anchorCtr="0" compatLnSpc="1">
            <a:prstTxWarp prst="textNoShape">
              <a:avLst/>
            </a:prstTxWarp>
          </a:bodyPr>
          <a:lstStyle>
            <a:lvl1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1900" b="1" kern="0" smtClean="0">
                <a:solidFill>
                  <a:schemeClr val="accent5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92348">
              <a:buClr>
                <a:srgbClr val="B1FEEB"/>
              </a:buClr>
            </a:pPr>
            <a:r>
              <a:rPr lang="de-DE" sz="3524" kern="1200">
                <a:solidFill>
                  <a:srgbClr val="002060"/>
                </a:solidFill>
                <a:latin typeface="+mj-lt"/>
                <a:ea typeface="+mn-ea"/>
              </a:rPr>
              <a:t>Agenda</a:t>
            </a: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5DA2E3D7-8ACA-034E-9E86-4ED14601D39E}"/>
              </a:ext>
            </a:extLst>
          </p:cNvPr>
          <p:cNvSpPr/>
          <p:nvPr/>
        </p:nvSpPr>
        <p:spPr>
          <a:xfrm>
            <a:off x="6913140" y="3206910"/>
            <a:ext cx="6317516" cy="2695981"/>
          </a:xfrm>
          <a:prstGeom prst="rect">
            <a:avLst/>
          </a:prstGeom>
          <a:solidFill>
            <a:schemeClr val="bg1">
              <a:alpha val="5016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83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AFA52096-1D76-1B29-370D-DA042CB36F7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5" r="41171"/>
          <a:stretch/>
        </p:blipFill>
        <p:spPr>
          <a:xfrm>
            <a:off x="-17848" y="0"/>
            <a:ext cx="6611528" cy="7564437"/>
          </a:xfrm>
          <a:prstGeom prst="rect">
            <a:avLst/>
          </a:prstGeom>
        </p:spPr>
      </p:pic>
      <p:sp>
        <p:nvSpPr>
          <p:cNvPr id="16" name="Rechteck 3">
            <a:extLst>
              <a:ext uri="{FF2B5EF4-FFF2-40B4-BE49-F238E27FC236}">
                <a16:creationId xmlns:a16="http://schemas.microsoft.com/office/drawing/2014/main" id="{E45D7BDC-13FF-2747-AC92-30AA33E05B3B}"/>
              </a:ext>
            </a:extLst>
          </p:cNvPr>
          <p:cNvSpPr/>
          <p:nvPr/>
        </p:nvSpPr>
        <p:spPr>
          <a:xfrm>
            <a:off x="-17848" y="-1"/>
            <a:ext cx="6643903" cy="756443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316"/>
          </a:p>
        </p:txBody>
      </p:sp>
    </p:spTree>
    <p:extLst>
      <p:ext uri="{BB962C8B-B14F-4D97-AF65-F5344CB8AC3E}">
        <p14:creationId xmlns:p14="http://schemas.microsoft.com/office/powerpoint/2010/main" val="22859349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51">
            <a:extLst>
              <a:ext uri="{FF2B5EF4-FFF2-40B4-BE49-F238E27FC236}">
                <a16:creationId xmlns:a16="http://schemas.microsoft.com/office/drawing/2014/main" id="{37A31358-C64D-BA4B-B76C-08DCCEFFF2BF}"/>
              </a:ext>
            </a:extLst>
          </p:cNvPr>
          <p:cNvSpPr txBox="1">
            <a:spLocks/>
          </p:cNvSpPr>
          <p:nvPr/>
        </p:nvSpPr>
        <p:spPr>
          <a:xfrm>
            <a:off x="323850" y="331812"/>
            <a:ext cx="12815888" cy="791513"/>
          </a:xfrm>
          <a:prstGeom prst="rect">
            <a:avLst/>
          </a:prstGeom>
        </p:spPr>
        <p:txBody>
          <a:bodyPr vert="horz" lIns="0" rIns="0"/>
          <a:lstStyle>
            <a:lvl1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400" b="1" kern="0" smtClean="0">
                <a:solidFill>
                  <a:schemeClr val="tx1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49429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6pPr>
            <a:lvl7pPr marL="898853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7pPr>
            <a:lvl8pPr marL="1348278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8pPr>
            <a:lvl9pPr marL="1797704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buClr>
                <a:srgbClr val="FF8000"/>
              </a:buClr>
            </a:pPr>
            <a:r>
              <a:rPr lang="en-GB" sz="1800">
                <a:solidFill>
                  <a:srgbClr val="002060"/>
                </a:solidFill>
              </a:rPr>
              <a:t>MovieLens20M</a:t>
            </a:r>
          </a:p>
          <a:p>
            <a:pPr>
              <a:buClr>
                <a:srgbClr val="FF8000"/>
              </a:buClr>
            </a:pPr>
            <a:r>
              <a:rPr lang="en-GB" sz="2800">
                <a:solidFill>
                  <a:srgbClr val="002060"/>
                </a:solidFill>
              </a:rPr>
              <a:t>Data Analysis</a:t>
            </a:r>
          </a:p>
        </p:txBody>
      </p:sp>
      <p:sp>
        <p:nvSpPr>
          <p:cNvPr id="28" name="Textplatzhalter 49">
            <a:extLst>
              <a:ext uri="{FF2B5EF4-FFF2-40B4-BE49-F238E27FC236}">
                <a16:creationId xmlns:a16="http://schemas.microsoft.com/office/drawing/2014/main" id="{1707D6E5-FBC2-4348-8CCB-0F1B8C5B4AC0}"/>
              </a:ext>
            </a:extLst>
          </p:cNvPr>
          <p:cNvSpPr txBox="1">
            <a:spLocks/>
          </p:cNvSpPr>
          <p:nvPr/>
        </p:nvSpPr>
        <p:spPr>
          <a:xfrm>
            <a:off x="323849" y="43812"/>
            <a:ext cx="10061121" cy="283618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 defTabSz="978439" rtl="0" eaLnBrk="0" fontAlgn="base" hangingPunct="0"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sz="1600" b="1" baseline="0">
                <a:solidFill>
                  <a:schemeClr val="bg1">
                    <a:lumMod val="65000"/>
                  </a:schemeClr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495668" indent="-247834" algn="l" defTabSz="978439" rtl="0" eaLnBrk="0" fontAlgn="base" hangingPunct="0">
              <a:spcBef>
                <a:spcPts val="295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601882" indent="-212428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13280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4pPr>
            <a:lvl5pPr marL="789616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5pPr>
            <a:lvl6pPr marL="1983407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6pPr>
            <a:lvl7pPr marL="2432832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7pPr>
            <a:lvl8pPr marL="2882261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8pPr>
            <a:lvl9pPr marL="3331684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kern="0">
                <a:solidFill>
                  <a:srgbClr val="FFFFFF">
                    <a:lumMod val="65000"/>
                  </a:srgbClr>
                </a:solidFill>
              </a:rPr>
              <a:t>DATASET</a:t>
            </a:r>
            <a:endParaRPr lang="de-DE"/>
          </a:p>
        </p:txBody>
      </p:sp>
      <p:sp>
        <p:nvSpPr>
          <p:cNvPr id="17" name="Date Placeholder 5">
            <a:extLst>
              <a:ext uri="{FF2B5EF4-FFF2-40B4-BE49-F238E27FC236}">
                <a16:creationId xmlns:a16="http://schemas.microsoft.com/office/drawing/2014/main" id="{D7C184D3-A201-7C37-FC0C-B3150B8122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9201" y="7168438"/>
            <a:ext cx="4675860" cy="324000"/>
          </a:xfrm>
        </p:spPr>
        <p:txBody>
          <a:bodyPr/>
          <a:lstStyle/>
          <a:p>
            <a:r>
              <a:rPr lang="en-GB"/>
              <a:t> | Group 9 | Final Presentation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DC3AD97-0592-875B-6D98-AB5242596641}"/>
              </a:ext>
            </a:extLst>
          </p:cNvPr>
          <p:cNvCxnSpPr/>
          <p:nvPr/>
        </p:nvCxnSpPr>
        <p:spPr bwMode="auto">
          <a:xfrm>
            <a:off x="-11151" y="1215489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0D19F8C-9B53-EDE3-1E9F-870FAACC4B84}"/>
              </a:ext>
            </a:extLst>
          </p:cNvPr>
          <p:cNvCxnSpPr/>
          <p:nvPr/>
        </p:nvCxnSpPr>
        <p:spPr bwMode="auto">
          <a:xfrm>
            <a:off x="-16287" y="7088464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66F36670-6DB9-270F-0074-C6F5F3308806}"/>
              </a:ext>
            </a:extLst>
          </p:cNvPr>
          <p:cNvSpPr/>
          <p:nvPr/>
        </p:nvSpPr>
        <p:spPr bwMode="auto">
          <a:xfrm>
            <a:off x="323849" y="1541950"/>
            <a:ext cx="12815889" cy="3219622"/>
          </a:xfrm>
          <a:prstGeom prst="rect">
            <a:avLst/>
          </a:prstGeom>
          <a:noFill/>
          <a:ln w="158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78160" tIns="39317" rIns="76858" bIns="39317" numCol="1" rtlCol="0" anchor="ctr" anchorCtr="0" compatLnSpc="1">
            <a:prstTxWarp prst="textNoShape">
              <a:avLst/>
            </a:prstTxWarp>
          </a:bodyPr>
          <a:lstStyle/>
          <a:p>
            <a:pPr algn="ctr" defTabSz="745236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sz="1348">
              <a:solidFill>
                <a:srgbClr val="646464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00FB6F49-AFC1-86E6-4870-1604B3A2AEC3}"/>
              </a:ext>
            </a:extLst>
          </p:cNvPr>
          <p:cNvGrpSpPr/>
          <p:nvPr/>
        </p:nvGrpSpPr>
        <p:grpSpPr>
          <a:xfrm>
            <a:off x="2269848" y="4781336"/>
            <a:ext cx="524141" cy="524141"/>
            <a:chOff x="4022531" y="617606"/>
            <a:chExt cx="524141" cy="524141"/>
          </a:xfrm>
          <a:solidFill>
            <a:srgbClr val="B0B6C5"/>
          </a:solidFill>
        </p:grpSpPr>
        <p:sp>
          <p:nvSpPr>
            <p:cNvPr id="9" name="Pfeil nach unten 13">
              <a:extLst>
                <a:ext uri="{FF2B5EF4-FFF2-40B4-BE49-F238E27FC236}">
                  <a16:creationId xmlns:a16="http://schemas.microsoft.com/office/drawing/2014/main" id="{50C198AF-F90C-7084-FEAE-FB18245B8980}"/>
                </a:ext>
              </a:extLst>
            </p:cNvPr>
            <p:cNvSpPr/>
            <p:nvPr/>
          </p:nvSpPr>
          <p:spPr>
            <a:xfrm>
              <a:off x="4022531" y="617606"/>
              <a:ext cx="524141" cy="524141"/>
            </a:xfrm>
            <a:prstGeom prst="downArrow">
              <a:avLst>
                <a:gd name="adj1" fmla="val 55000"/>
                <a:gd name="adj2" fmla="val 45000"/>
              </a:avLst>
            </a:prstGeom>
            <a:grpFill/>
            <a:ln>
              <a:solidFill>
                <a:srgbClr val="B0B6C5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Pfeil nach unten 4">
              <a:extLst>
                <a:ext uri="{FF2B5EF4-FFF2-40B4-BE49-F238E27FC236}">
                  <a16:creationId xmlns:a16="http://schemas.microsoft.com/office/drawing/2014/main" id="{99FEDB44-4584-D221-3D8F-9FBA1A95976E}"/>
                </a:ext>
              </a:extLst>
            </p:cNvPr>
            <p:cNvSpPr txBox="1"/>
            <p:nvPr/>
          </p:nvSpPr>
          <p:spPr>
            <a:xfrm>
              <a:off x="4140463" y="617606"/>
              <a:ext cx="288277" cy="394416"/>
            </a:xfrm>
            <a:prstGeom prst="rect">
              <a:avLst/>
            </a:prstGeom>
            <a:grpFill/>
            <a:ln>
              <a:solidFill>
                <a:srgbClr val="B0B6C5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2400" kern="1200"/>
            </a:p>
          </p:txBody>
        </p:sp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7123C3A6-B64F-D82A-920E-6321F4F4C655}"/>
              </a:ext>
            </a:extLst>
          </p:cNvPr>
          <p:cNvSpPr/>
          <p:nvPr/>
        </p:nvSpPr>
        <p:spPr bwMode="auto">
          <a:xfrm>
            <a:off x="323849" y="5430535"/>
            <a:ext cx="4359663" cy="13299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4400" tIns="52516" rIns="102663" bIns="52516" numCol="1" rtlCol="0" anchor="t" anchorCtr="0" compatLnSpc="1">
            <a:prstTxWarp prst="textNoShape">
              <a:avLst/>
            </a:prstTxWarp>
          </a:bodyPr>
          <a:lstStyle/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 b="1">
                <a:latin typeface="Arial" charset="0"/>
              </a:rPr>
              <a:t>20M</a:t>
            </a:r>
            <a:r>
              <a:rPr lang="en-US" sz="1600">
                <a:latin typeface="Arial" charset="0"/>
              </a:rPr>
              <a:t> ratings 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 b="1">
                <a:latin typeface="Arial" charset="0"/>
              </a:rPr>
              <a:t>38K</a:t>
            </a:r>
            <a:r>
              <a:rPr lang="en-US" sz="1600">
                <a:latin typeface="Arial" charset="0"/>
              </a:rPr>
              <a:t> users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 b="1">
                <a:latin typeface="Arial" charset="0"/>
              </a:rPr>
              <a:t>27K</a:t>
            </a:r>
            <a:r>
              <a:rPr lang="en-US" sz="1600">
                <a:latin typeface="Arial" charset="0"/>
              </a:rPr>
              <a:t> movies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 b="1">
                <a:latin typeface="Arial" charset="0"/>
              </a:rPr>
              <a:t>1128</a:t>
            </a:r>
            <a:r>
              <a:rPr lang="en-US" sz="1600">
                <a:latin typeface="Arial" charset="0"/>
              </a:rPr>
              <a:t> tag relevance scores for each movie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>
                <a:latin typeface="Arial" charset="0"/>
              </a:rPr>
              <a:t>All users have </a:t>
            </a:r>
            <a:r>
              <a:rPr lang="en-US" sz="1600" b="1">
                <a:latin typeface="Arial" charset="0"/>
              </a:rPr>
              <a:t>&gt; 20 </a:t>
            </a:r>
            <a:r>
              <a:rPr lang="en-US" sz="1600">
                <a:latin typeface="Arial" charset="0"/>
              </a:rPr>
              <a:t>ratings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0FD54943-5E05-C98C-89BD-C66F48B67F91}"/>
              </a:ext>
            </a:extLst>
          </p:cNvPr>
          <p:cNvGrpSpPr/>
          <p:nvPr/>
        </p:nvGrpSpPr>
        <p:grpSpPr>
          <a:xfrm>
            <a:off x="10892624" y="4781336"/>
            <a:ext cx="524141" cy="524141"/>
            <a:chOff x="4022531" y="617606"/>
            <a:chExt cx="524141" cy="524141"/>
          </a:xfrm>
          <a:solidFill>
            <a:srgbClr val="B0B6C5"/>
          </a:solidFill>
        </p:grpSpPr>
        <p:sp>
          <p:nvSpPr>
            <p:cNvPr id="13" name="Pfeil nach unten 13">
              <a:extLst>
                <a:ext uri="{FF2B5EF4-FFF2-40B4-BE49-F238E27FC236}">
                  <a16:creationId xmlns:a16="http://schemas.microsoft.com/office/drawing/2014/main" id="{BB277E05-F6E6-1E16-C387-82B3838487CF}"/>
                </a:ext>
              </a:extLst>
            </p:cNvPr>
            <p:cNvSpPr/>
            <p:nvPr/>
          </p:nvSpPr>
          <p:spPr>
            <a:xfrm>
              <a:off x="4022531" y="617606"/>
              <a:ext cx="524141" cy="524141"/>
            </a:xfrm>
            <a:prstGeom prst="downArrow">
              <a:avLst>
                <a:gd name="adj1" fmla="val 55000"/>
                <a:gd name="adj2" fmla="val 45000"/>
              </a:avLst>
            </a:prstGeom>
            <a:grpFill/>
            <a:ln>
              <a:solidFill>
                <a:srgbClr val="B0B6C5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4" name="Pfeil nach unten 4">
              <a:extLst>
                <a:ext uri="{FF2B5EF4-FFF2-40B4-BE49-F238E27FC236}">
                  <a16:creationId xmlns:a16="http://schemas.microsoft.com/office/drawing/2014/main" id="{B644A84A-187D-C956-08D3-6769E4FEA673}"/>
                </a:ext>
              </a:extLst>
            </p:cNvPr>
            <p:cNvSpPr txBox="1"/>
            <p:nvPr/>
          </p:nvSpPr>
          <p:spPr>
            <a:xfrm>
              <a:off x="4140463" y="617606"/>
              <a:ext cx="288277" cy="394416"/>
            </a:xfrm>
            <a:prstGeom prst="rect">
              <a:avLst/>
            </a:prstGeom>
            <a:grpFill/>
            <a:ln>
              <a:solidFill>
                <a:srgbClr val="B0B6C5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2400" kern="1200"/>
            </a:p>
          </p:txBody>
        </p:sp>
      </p:grpSp>
      <p:sp>
        <p:nvSpPr>
          <p:cNvPr id="15" name="Rechteck 14">
            <a:extLst>
              <a:ext uri="{FF2B5EF4-FFF2-40B4-BE49-F238E27FC236}">
                <a16:creationId xmlns:a16="http://schemas.microsoft.com/office/drawing/2014/main" id="{485BAD6B-96E4-F918-8EB3-822F4D60D97E}"/>
              </a:ext>
            </a:extLst>
          </p:cNvPr>
          <p:cNvSpPr/>
          <p:nvPr/>
        </p:nvSpPr>
        <p:spPr bwMode="auto">
          <a:xfrm>
            <a:off x="9203100" y="5464024"/>
            <a:ext cx="3960000" cy="13299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4400" tIns="52516" rIns="102663" bIns="52516" numCol="1" rtlCol="0" anchor="t" anchorCtr="0" compatLnSpc="1">
            <a:prstTxWarp prst="textNoShape">
              <a:avLst/>
            </a:prstTxWarp>
          </a:bodyPr>
          <a:lstStyle/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 b="1">
                <a:latin typeface="Arial" charset="0"/>
              </a:rPr>
              <a:t>Most</a:t>
            </a:r>
            <a:r>
              <a:rPr lang="en-US" sz="1600">
                <a:latin typeface="Arial" charset="0"/>
              </a:rPr>
              <a:t> users have rated </a:t>
            </a:r>
          </a:p>
          <a:p>
            <a:pPr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</a:pPr>
            <a:r>
              <a:rPr lang="en-US" sz="1600" b="1">
                <a:latin typeface="Arial" charset="0"/>
              </a:rPr>
              <a:t>     0 to 500 </a:t>
            </a:r>
            <a:r>
              <a:rPr lang="en-US" sz="1600">
                <a:latin typeface="Arial" charset="0"/>
              </a:rPr>
              <a:t>movies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9D754FE6-8B1A-F0B9-AA21-819F73316D88}"/>
              </a:ext>
            </a:extLst>
          </p:cNvPr>
          <p:cNvGrpSpPr/>
          <p:nvPr/>
        </p:nvGrpSpPr>
        <p:grpSpPr>
          <a:xfrm>
            <a:off x="6614687" y="4781336"/>
            <a:ext cx="524141" cy="524141"/>
            <a:chOff x="4022531" y="617606"/>
            <a:chExt cx="524141" cy="524141"/>
          </a:xfrm>
          <a:solidFill>
            <a:srgbClr val="B0B6C5"/>
          </a:solidFill>
        </p:grpSpPr>
        <p:sp>
          <p:nvSpPr>
            <p:cNvPr id="18" name="Pfeil nach unten 13">
              <a:extLst>
                <a:ext uri="{FF2B5EF4-FFF2-40B4-BE49-F238E27FC236}">
                  <a16:creationId xmlns:a16="http://schemas.microsoft.com/office/drawing/2014/main" id="{AB255294-90C3-6F05-1041-3E09FD80ECEE}"/>
                </a:ext>
              </a:extLst>
            </p:cNvPr>
            <p:cNvSpPr/>
            <p:nvPr/>
          </p:nvSpPr>
          <p:spPr>
            <a:xfrm>
              <a:off x="4022531" y="617606"/>
              <a:ext cx="524141" cy="524141"/>
            </a:xfrm>
            <a:prstGeom prst="downArrow">
              <a:avLst>
                <a:gd name="adj1" fmla="val 55000"/>
                <a:gd name="adj2" fmla="val 45000"/>
              </a:avLst>
            </a:prstGeom>
            <a:grpFill/>
            <a:ln>
              <a:solidFill>
                <a:srgbClr val="B0B6C5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Pfeil nach unten 4">
              <a:extLst>
                <a:ext uri="{FF2B5EF4-FFF2-40B4-BE49-F238E27FC236}">
                  <a16:creationId xmlns:a16="http://schemas.microsoft.com/office/drawing/2014/main" id="{46E0351E-9FF1-565E-07D0-AF430907D0EE}"/>
                </a:ext>
              </a:extLst>
            </p:cNvPr>
            <p:cNvSpPr txBox="1"/>
            <p:nvPr/>
          </p:nvSpPr>
          <p:spPr>
            <a:xfrm>
              <a:off x="4140463" y="617606"/>
              <a:ext cx="288277" cy="394416"/>
            </a:xfrm>
            <a:prstGeom prst="rect">
              <a:avLst/>
            </a:prstGeom>
            <a:grpFill/>
            <a:ln>
              <a:solidFill>
                <a:srgbClr val="B0B6C5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2400" kern="1200"/>
            </a:p>
          </p:txBody>
        </p:sp>
      </p:grpSp>
      <p:sp>
        <p:nvSpPr>
          <p:cNvPr id="21" name="Rechteck 20">
            <a:extLst>
              <a:ext uri="{FF2B5EF4-FFF2-40B4-BE49-F238E27FC236}">
                <a16:creationId xmlns:a16="http://schemas.microsoft.com/office/drawing/2014/main" id="{9644143C-C819-9961-71AD-4CAA7C036219}"/>
              </a:ext>
            </a:extLst>
          </p:cNvPr>
          <p:cNvSpPr/>
          <p:nvPr/>
        </p:nvSpPr>
        <p:spPr bwMode="auto">
          <a:xfrm>
            <a:off x="4936316" y="5470063"/>
            <a:ext cx="3852000" cy="13299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4400" tIns="52516" rIns="102663" bIns="52516" numCol="1" rtlCol="0" anchor="t" anchorCtr="0" compatLnSpc="1">
            <a:prstTxWarp prst="textNoShape">
              <a:avLst/>
            </a:prstTxWarp>
          </a:bodyPr>
          <a:lstStyle/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>
                <a:latin typeface="Arial" charset="0"/>
              </a:rPr>
              <a:t>Ratings from </a:t>
            </a:r>
            <a:r>
              <a:rPr lang="en-US" sz="1600" b="1">
                <a:latin typeface="Arial" charset="0"/>
              </a:rPr>
              <a:t>0 to 5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endParaRPr lang="en-US" sz="1600">
              <a:latin typeface="Arial" charset="0"/>
            </a:endParaRP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 b="1">
                <a:latin typeface="Arial" charset="0"/>
              </a:rPr>
              <a:t>Most</a:t>
            </a:r>
            <a:r>
              <a:rPr lang="en-US" sz="1600">
                <a:latin typeface="Arial" charset="0"/>
              </a:rPr>
              <a:t> ratings between </a:t>
            </a:r>
            <a:r>
              <a:rPr lang="en-US" sz="1600" b="1">
                <a:latin typeface="Arial" charset="0"/>
              </a:rPr>
              <a:t>3 and 4 </a:t>
            </a:r>
            <a:r>
              <a:rPr lang="en-US" sz="1600">
                <a:latin typeface="Arial" charset="0"/>
              </a:rPr>
              <a:t>points 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600" b="1">
                <a:latin typeface="Arial" charset="0"/>
              </a:rPr>
              <a:t>Least</a:t>
            </a:r>
            <a:r>
              <a:rPr lang="en-US" sz="1600">
                <a:latin typeface="Arial" charset="0"/>
              </a:rPr>
              <a:t> ratings between </a:t>
            </a:r>
            <a:r>
              <a:rPr lang="en-US" sz="1600" b="1">
                <a:latin typeface="Arial" charset="0"/>
              </a:rPr>
              <a:t>0 and 1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endParaRPr lang="en-US" sz="1600">
              <a:latin typeface="Arial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1AEA175-070B-CB6A-20C0-215EA8296A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3249" y="1714256"/>
            <a:ext cx="2869316" cy="287500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7809D53-C748-26BE-85DF-C6F73D6CF3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32855" y="1714256"/>
            <a:ext cx="2950834" cy="2864721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2BE63ED3-3AF5-9B49-83FF-BF753DA9A190}"/>
              </a:ext>
            </a:extLst>
          </p:cNvPr>
          <p:cNvSpPr txBox="1"/>
          <p:nvPr/>
        </p:nvSpPr>
        <p:spPr>
          <a:xfrm>
            <a:off x="1066507" y="2028375"/>
            <a:ext cx="3590693" cy="224676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2000" b="1" kern="0">
                <a:solidFill>
                  <a:srgbClr val="002060"/>
                </a:solidFill>
              </a:rPr>
              <a:t>movies.csv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sz="2000" b="1" kern="0">
                <a:solidFill>
                  <a:srgbClr val="002060"/>
                </a:solidFill>
              </a:rPr>
              <a:t>ratings.csv</a:t>
            </a:r>
          </a:p>
          <a:p>
            <a:pPr marL="0" indent="0">
              <a:buNone/>
            </a:pPr>
            <a:r>
              <a:rPr lang="en-US" sz="2000" b="1" kern="0">
                <a:solidFill>
                  <a:srgbClr val="002060"/>
                </a:solidFill>
              </a:rPr>
              <a:t>tags.csv</a:t>
            </a:r>
          </a:p>
          <a:p>
            <a:pPr marL="0" indent="0">
              <a:buNone/>
            </a:pPr>
            <a:r>
              <a:rPr lang="en-US" sz="2000" b="1" kern="0">
                <a:solidFill>
                  <a:srgbClr val="002060"/>
                </a:solidFill>
              </a:rPr>
              <a:t>genome-scores.csv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sz="2000" b="1" kern="0">
                <a:solidFill>
                  <a:srgbClr val="002060"/>
                </a:solidFill>
              </a:rPr>
              <a:t>genome-tags.csv</a:t>
            </a:r>
          </a:p>
          <a:p>
            <a:pPr marL="0" indent="0">
              <a:buNone/>
            </a:pPr>
            <a:r>
              <a:rPr lang="en-US" sz="2000" b="1" kern="0">
                <a:solidFill>
                  <a:srgbClr val="002060"/>
                </a:solidFill>
              </a:rPr>
              <a:t>links.csv</a:t>
            </a:r>
          </a:p>
        </p:txBody>
      </p:sp>
    </p:spTree>
    <p:extLst>
      <p:ext uri="{BB962C8B-B14F-4D97-AF65-F5344CB8AC3E}">
        <p14:creationId xmlns:p14="http://schemas.microsoft.com/office/powerpoint/2010/main" val="29579920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51">
            <a:extLst>
              <a:ext uri="{FF2B5EF4-FFF2-40B4-BE49-F238E27FC236}">
                <a16:creationId xmlns:a16="http://schemas.microsoft.com/office/drawing/2014/main" id="{37A31358-C64D-BA4B-B76C-08DCCEFFF2BF}"/>
              </a:ext>
            </a:extLst>
          </p:cNvPr>
          <p:cNvSpPr txBox="1">
            <a:spLocks/>
          </p:cNvSpPr>
          <p:nvPr/>
        </p:nvSpPr>
        <p:spPr>
          <a:xfrm>
            <a:off x="323850" y="331812"/>
            <a:ext cx="12815888" cy="791513"/>
          </a:xfrm>
          <a:prstGeom prst="rect">
            <a:avLst/>
          </a:prstGeom>
        </p:spPr>
        <p:txBody>
          <a:bodyPr vert="horz" lIns="0" rIns="0"/>
          <a:lstStyle>
            <a:lvl1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400" b="1" kern="0" smtClean="0">
                <a:solidFill>
                  <a:schemeClr val="tx1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49429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6pPr>
            <a:lvl7pPr marL="898853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7pPr>
            <a:lvl8pPr marL="1348278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8pPr>
            <a:lvl9pPr marL="1797704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buClr>
                <a:srgbClr val="FF8000"/>
              </a:buClr>
            </a:pPr>
            <a:r>
              <a:rPr lang="en-GB" sz="1800" err="1">
                <a:solidFill>
                  <a:srgbClr val="002060"/>
                </a:solidFill>
              </a:rPr>
              <a:t>Imdb</a:t>
            </a:r>
            <a:endParaRPr lang="en-GB" sz="1800">
              <a:solidFill>
                <a:srgbClr val="002060"/>
              </a:solidFill>
            </a:endParaRPr>
          </a:p>
          <a:p>
            <a:pPr>
              <a:buClr>
                <a:srgbClr val="FF8000"/>
              </a:buClr>
            </a:pPr>
            <a:r>
              <a:rPr lang="en-GB" sz="2800">
                <a:solidFill>
                  <a:srgbClr val="002060"/>
                </a:solidFill>
              </a:rPr>
              <a:t>Data Analysis</a:t>
            </a:r>
          </a:p>
        </p:txBody>
      </p:sp>
      <p:sp>
        <p:nvSpPr>
          <p:cNvPr id="28" name="Textplatzhalter 49">
            <a:extLst>
              <a:ext uri="{FF2B5EF4-FFF2-40B4-BE49-F238E27FC236}">
                <a16:creationId xmlns:a16="http://schemas.microsoft.com/office/drawing/2014/main" id="{1707D6E5-FBC2-4348-8CCB-0F1B8C5B4AC0}"/>
              </a:ext>
            </a:extLst>
          </p:cNvPr>
          <p:cNvSpPr txBox="1">
            <a:spLocks/>
          </p:cNvSpPr>
          <p:nvPr/>
        </p:nvSpPr>
        <p:spPr>
          <a:xfrm>
            <a:off x="323849" y="43812"/>
            <a:ext cx="10061121" cy="283618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 defTabSz="978439" rtl="0" eaLnBrk="0" fontAlgn="base" hangingPunct="0"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sz="1600" b="1" baseline="0">
                <a:solidFill>
                  <a:schemeClr val="bg1">
                    <a:lumMod val="65000"/>
                  </a:schemeClr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495668" indent="-247834" algn="l" defTabSz="978439" rtl="0" eaLnBrk="0" fontAlgn="base" hangingPunct="0">
              <a:spcBef>
                <a:spcPts val="295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601882" indent="-212428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13280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4pPr>
            <a:lvl5pPr marL="789616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5pPr>
            <a:lvl6pPr marL="1983407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6pPr>
            <a:lvl7pPr marL="2432832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7pPr>
            <a:lvl8pPr marL="2882261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8pPr>
            <a:lvl9pPr marL="3331684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kern="0">
                <a:solidFill>
                  <a:srgbClr val="FFFFFF">
                    <a:lumMod val="65000"/>
                  </a:srgbClr>
                </a:solidFill>
              </a:rPr>
              <a:t>DATASET</a:t>
            </a:r>
            <a:endParaRPr lang="de-DE"/>
          </a:p>
        </p:txBody>
      </p:sp>
      <p:sp>
        <p:nvSpPr>
          <p:cNvPr id="17" name="Date Placeholder 5">
            <a:extLst>
              <a:ext uri="{FF2B5EF4-FFF2-40B4-BE49-F238E27FC236}">
                <a16:creationId xmlns:a16="http://schemas.microsoft.com/office/drawing/2014/main" id="{D7C184D3-A201-7C37-FC0C-B3150B8122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9201" y="7168438"/>
            <a:ext cx="4675860" cy="324000"/>
          </a:xfrm>
        </p:spPr>
        <p:txBody>
          <a:bodyPr/>
          <a:lstStyle/>
          <a:p>
            <a:r>
              <a:rPr lang="en-GB"/>
              <a:t> | Group 9 | Final Presentation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DC3AD97-0592-875B-6D98-AB5242596641}"/>
              </a:ext>
            </a:extLst>
          </p:cNvPr>
          <p:cNvCxnSpPr/>
          <p:nvPr/>
        </p:nvCxnSpPr>
        <p:spPr bwMode="auto">
          <a:xfrm>
            <a:off x="-11151" y="1215489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0D19F8C-9B53-EDE3-1E9F-870FAACC4B84}"/>
              </a:ext>
            </a:extLst>
          </p:cNvPr>
          <p:cNvCxnSpPr/>
          <p:nvPr/>
        </p:nvCxnSpPr>
        <p:spPr bwMode="auto">
          <a:xfrm>
            <a:off x="-16287" y="7088464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66F36670-6DB9-270F-0074-C6F5F3308806}"/>
              </a:ext>
            </a:extLst>
          </p:cNvPr>
          <p:cNvSpPr/>
          <p:nvPr/>
        </p:nvSpPr>
        <p:spPr bwMode="auto">
          <a:xfrm>
            <a:off x="323849" y="3153160"/>
            <a:ext cx="12815889" cy="3477712"/>
          </a:xfrm>
          <a:prstGeom prst="rect">
            <a:avLst/>
          </a:prstGeom>
          <a:noFill/>
          <a:ln w="158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78160" tIns="39317" rIns="76858" bIns="39317" numCol="1" rtlCol="0" anchor="ctr" anchorCtr="0" compatLnSpc="1">
            <a:prstTxWarp prst="textNoShape">
              <a:avLst/>
            </a:prstTxWarp>
          </a:bodyPr>
          <a:lstStyle/>
          <a:p>
            <a:pPr algn="ctr" defTabSz="745236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sz="1348">
              <a:solidFill>
                <a:srgbClr val="646464"/>
              </a:solidFill>
            </a:endParaRPr>
          </a:p>
        </p:txBody>
      </p:sp>
      <p:sp>
        <p:nvSpPr>
          <p:cNvPr id="22" name="Rectangle 5">
            <a:extLst>
              <a:ext uri="{FF2B5EF4-FFF2-40B4-BE49-F238E27FC236}">
                <a16:creationId xmlns:a16="http://schemas.microsoft.com/office/drawing/2014/main" id="{5EC46767-2C94-4ADC-DC00-1189526DC7B9}"/>
              </a:ext>
            </a:extLst>
          </p:cNvPr>
          <p:cNvSpPr/>
          <p:nvPr/>
        </p:nvSpPr>
        <p:spPr>
          <a:xfrm>
            <a:off x="-16286" y="1355101"/>
            <a:ext cx="12815889" cy="1407534"/>
          </a:xfrm>
          <a:prstGeom prst="rect">
            <a:avLst/>
          </a:prstGeom>
          <a:solidFill>
            <a:srgbClr val="B0B6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263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526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3791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055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6319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7580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48845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0111" algn="l" defTabSz="104252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083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Parallelogramm 22">
            <a:extLst>
              <a:ext uri="{FF2B5EF4-FFF2-40B4-BE49-F238E27FC236}">
                <a16:creationId xmlns:a16="http://schemas.microsoft.com/office/drawing/2014/main" id="{293E2A8F-4A8C-6A63-BCFB-DC4E235A8072}"/>
              </a:ext>
            </a:extLst>
          </p:cNvPr>
          <p:cNvSpPr/>
          <p:nvPr/>
        </p:nvSpPr>
        <p:spPr bwMode="auto">
          <a:xfrm>
            <a:off x="11804057" y="1244296"/>
            <a:ext cx="741749" cy="1690234"/>
          </a:xfrm>
          <a:prstGeom prst="parallelogram">
            <a:avLst>
              <a:gd name="adj" fmla="val 75266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63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526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379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05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6319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758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4884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11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24" name="Dreieck 34">
            <a:extLst>
              <a:ext uri="{FF2B5EF4-FFF2-40B4-BE49-F238E27FC236}">
                <a16:creationId xmlns:a16="http://schemas.microsoft.com/office/drawing/2014/main" id="{6290AADE-31CB-3256-24B8-D7833E9B8FEB}"/>
              </a:ext>
            </a:extLst>
          </p:cNvPr>
          <p:cNvSpPr/>
          <p:nvPr/>
        </p:nvSpPr>
        <p:spPr bwMode="auto">
          <a:xfrm>
            <a:off x="12188283" y="1221669"/>
            <a:ext cx="1259430" cy="1823664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63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526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379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05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6319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758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4884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11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F8CCEB5F-06B8-46D1-872C-72FA56CE56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3849" y="1457939"/>
            <a:ext cx="11697166" cy="112980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28600" tIns="65726" rIns="0" bIns="37150">
            <a:spAutoFit/>
          </a:bodyPr>
          <a:lstStyle>
            <a:defPPr>
              <a:defRPr lang="de-DE"/>
            </a:defPPr>
            <a:lvl1pPr marL="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63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526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379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05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6319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7580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48845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111" algn="l" defTabSz="104252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02089">
              <a:spcAft>
                <a:spcPts val="600"/>
              </a:spcAft>
              <a:defRPr/>
            </a:pPr>
            <a:r>
              <a:rPr lang="en-US" sz="2000" b="1" i="1" kern="0">
                <a:solidFill>
                  <a:srgbClr val="002060"/>
                </a:solidFill>
                <a:latin typeface="Georgia" panose="02040502050405020303" pitchFamily="18" charset="0"/>
              </a:rPr>
              <a:t>The Problem with </a:t>
            </a:r>
            <a:r>
              <a:rPr lang="en-US" sz="2000" b="1" i="1" kern="0" err="1">
                <a:solidFill>
                  <a:srgbClr val="002060"/>
                </a:solidFill>
                <a:latin typeface="Georgia" panose="02040502050405020303" pitchFamily="18" charset="0"/>
              </a:rPr>
              <a:t>MovieLens</a:t>
            </a:r>
            <a:r>
              <a:rPr lang="en-US" sz="2000" b="1" i="1" kern="0">
                <a:solidFill>
                  <a:srgbClr val="002060"/>
                </a:solidFill>
                <a:latin typeface="Georgia" panose="02040502050405020303" pitchFamily="18" charset="0"/>
              </a:rPr>
              <a:t>:</a:t>
            </a:r>
          </a:p>
          <a:p>
            <a:pPr defTabSz="802089">
              <a:spcAft>
                <a:spcPts val="238"/>
              </a:spcAft>
              <a:defRPr/>
            </a:pPr>
            <a:r>
              <a:rPr lang="en-US" sz="2000" b="1" i="1" kern="0">
                <a:solidFill>
                  <a:srgbClr val="002060"/>
                </a:solidFill>
                <a:latin typeface="Georgia" panose="02040502050405020303" pitchFamily="18" charset="0"/>
              </a:rPr>
              <a:t>It does not contain very much information beyond the actual ratings which </a:t>
            </a:r>
          </a:p>
          <a:p>
            <a:pPr defTabSz="802089">
              <a:spcAft>
                <a:spcPts val="238"/>
              </a:spcAft>
              <a:defRPr/>
            </a:pPr>
            <a:r>
              <a:rPr lang="en-US" sz="2000" b="1" i="1" kern="0">
                <a:solidFill>
                  <a:srgbClr val="002060"/>
                </a:solidFill>
                <a:latin typeface="Georgia" panose="02040502050405020303" pitchFamily="18" charset="0"/>
              </a:rPr>
              <a:t>limits the number of features that can be used in Content-based Recommendation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5D37D3F6-5554-1AA6-4178-456563DF7CD2}"/>
              </a:ext>
            </a:extLst>
          </p:cNvPr>
          <p:cNvGrpSpPr/>
          <p:nvPr/>
        </p:nvGrpSpPr>
        <p:grpSpPr>
          <a:xfrm rot="5400000">
            <a:off x="964360" y="2634469"/>
            <a:ext cx="445041" cy="1132637"/>
            <a:chOff x="7934854" y="6404218"/>
            <a:chExt cx="445041" cy="1132637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63AD8173-C4BC-D015-91D8-9B5657A46C43}"/>
                </a:ext>
              </a:extLst>
            </p:cNvPr>
            <p:cNvSpPr/>
            <p:nvPr/>
          </p:nvSpPr>
          <p:spPr bwMode="auto">
            <a:xfrm>
              <a:off x="7934854" y="6404218"/>
              <a:ext cx="445041" cy="113263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277" tIns="52454" rIns="102542" bIns="52454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4268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1799">
                <a:solidFill>
                  <a:schemeClr val="accent5"/>
                </a:solidFill>
                <a:latin typeface="Arial" charset="0"/>
              </a:endParaRPr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4CE937DD-2F55-5DC4-7202-320678E9CCE9}"/>
                </a:ext>
              </a:extLst>
            </p:cNvPr>
            <p:cNvGrpSpPr/>
            <p:nvPr/>
          </p:nvGrpSpPr>
          <p:grpSpPr>
            <a:xfrm rot="10800000">
              <a:off x="8037760" y="6646286"/>
              <a:ext cx="239229" cy="648490"/>
              <a:chOff x="710707" y="5652655"/>
              <a:chExt cx="525811" cy="1163780"/>
            </a:xfrm>
            <a:solidFill>
              <a:srgbClr val="C00000"/>
            </a:solidFill>
          </p:grpSpPr>
          <p:sp>
            <p:nvSpPr>
              <p:cNvPr id="31" name="Parallelogramm 30">
                <a:extLst>
                  <a:ext uri="{FF2B5EF4-FFF2-40B4-BE49-F238E27FC236}">
                    <a16:creationId xmlns:a16="http://schemas.microsoft.com/office/drawing/2014/main" id="{717A6D8C-B97A-7093-6487-CC5073F49E6E}"/>
                  </a:ext>
                </a:extLst>
              </p:cNvPr>
              <p:cNvSpPr/>
              <p:nvPr/>
            </p:nvSpPr>
            <p:spPr bwMode="auto">
              <a:xfrm>
                <a:off x="710707" y="5652655"/>
                <a:ext cx="525811" cy="581890"/>
              </a:xfrm>
              <a:prstGeom prst="parallelogram">
                <a:avLst>
                  <a:gd name="adj" fmla="val 46738"/>
                </a:avLst>
              </a:prstGeom>
              <a:solidFill>
                <a:srgbClr val="00206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04277" tIns="52454" rIns="102542" bIns="5245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9426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folHlink"/>
                  </a:buClr>
                  <a:buSzPct val="75000"/>
                </a:pPr>
                <a:endParaRPr lang="de-DE" sz="1799">
                  <a:solidFill>
                    <a:schemeClr val="tx2"/>
                  </a:solidFill>
                  <a:latin typeface="Arial" charset="0"/>
                </a:endParaRPr>
              </a:p>
            </p:txBody>
          </p:sp>
          <p:sp>
            <p:nvSpPr>
              <p:cNvPr id="32" name="Parallelogramm 31">
                <a:extLst>
                  <a:ext uri="{FF2B5EF4-FFF2-40B4-BE49-F238E27FC236}">
                    <a16:creationId xmlns:a16="http://schemas.microsoft.com/office/drawing/2014/main" id="{BB62CAD8-C593-E4BE-99D1-A53460A3FD46}"/>
                  </a:ext>
                </a:extLst>
              </p:cNvPr>
              <p:cNvSpPr/>
              <p:nvPr/>
            </p:nvSpPr>
            <p:spPr bwMode="auto">
              <a:xfrm flipH="1">
                <a:off x="710707" y="6234545"/>
                <a:ext cx="525403" cy="581890"/>
              </a:xfrm>
              <a:prstGeom prst="parallelogram">
                <a:avLst>
                  <a:gd name="adj" fmla="val 46738"/>
                </a:avLst>
              </a:prstGeom>
              <a:solidFill>
                <a:srgbClr val="00206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04277" tIns="52454" rIns="102542" bIns="5245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9426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folHlink"/>
                  </a:buClr>
                  <a:buSzPct val="75000"/>
                </a:pPr>
                <a:endParaRPr lang="de-DE" sz="1799">
                  <a:solidFill>
                    <a:schemeClr val="tx2"/>
                  </a:solidFill>
                  <a:latin typeface="Arial" charset="0"/>
                </a:endParaRPr>
              </a:p>
            </p:txBody>
          </p:sp>
        </p:grpSp>
      </p:grpSp>
      <p:sp>
        <p:nvSpPr>
          <p:cNvPr id="33" name="Textfeld 32">
            <a:extLst>
              <a:ext uri="{FF2B5EF4-FFF2-40B4-BE49-F238E27FC236}">
                <a16:creationId xmlns:a16="http://schemas.microsoft.com/office/drawing/2014/main" id="{A9B4A9F2-1A93-1CFC-48B1-9C2C3367559F}"/>
              </a:ext>
            </a:extLst>
          </p:cNvPr>
          <p:cNvSpPr txBox="1"/>
          <p:nvPr/>
        </p:nvSpPr>
        <p:spPr>
          <a:xfrm>
            <a:off x="712616" y="3409918"/>
            <a:ext cx="9317262" cy="3016210"/>
          </a:xfrm>
          <a:prstGeom prst="rect">
            <a:avLst/>
          </a:prstGeom>
        </p:spPr>
        <p:txBody>
          <a:bodyPr wrap="square" lIns="91440" tIns="45720" rIns="91440" bIns="45720" rtlCol="0" anchor="t">
            <a:spAutoFit/>
          </a:bodyPr>
          <a:lstStyle/>
          <a:p>
            <a:pPr>
              <a:buClr>
                <a:srgbClr val="002060"/>
              </a:buClr>
            </a:pPr>
            <a:r>
              <a:rPr lang="en-GB" sz="1800" b="1" kern="0">
                <a:solidFill>
                  <a:srgbClr val="002060"/>
                </a:solidFill>
              </a:rPr>
              <a:t>Solution</a:t>
            </a:r>
          </a:p>
          <a:p>
            <a:pPr marL="342900" indent="-342900"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de-DE" sz="1800" b="1" kern="0"/>
              <a:t>Combine </a:t>
            </a:r>
            <a:r>
              <a:rPr lang="de-DE" sz="1800" b="1" kern="0" err="1"/>
              <a:t>MovieLens</a:t>
            </a:r>
            <a:r>
              <a:rPr lang="de-DE" sz="1800" b="1" kern="0"/>
              <a:t> and </a:t>
            </a:r>
            <a:r>
              <a:rPr lang="de-DE" sz="1800" b="1" kern="0" err="1"/>
              <a:t>Imdb</a:t>
            </a:r>
            <a:r>
              <a:rPr lang="de-DE" sz="1800" b="1" kern="0"/>
              <a:t> </a:t>
            </a:r>
            <a:r>
              <a:rPr lang="de-DE" sz="1800" b="1" kern="0" err="1"/>
              <a:t>dataset</a:t>
            </a:r>
            <a:endParaRPr lang="de-DE" sz="1800" b="1" kern="0"/>
          </a:p>
          <a:p>
            <a:pPr marL="342900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de-DE" sz="1800" kern="0" err="1"/>
              <a:t>Imdb</a:t>
            </a:r>
            <a:r>
              <a:rPr lang="de-DE" sz="1800" kern="0"/>
              <a:t> </a:t>
            </a:r>
            <a:r>
              <a:rPr lang="de-DE" sz="1800" kern="0" err="1"/>
              <a:t>contains</a:t>
            </a:r>
            <a:endParaRPr lang="de-DE" sz="1800" kern="0"/>
          </a:p>
          <a:p>
            <a:pPr marL="863600" lvl="1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de-DE" sz="1800" kern="0" err="1"/>
              <a:t>title.akas.tsv</a:t>
            </a:r>
            <a:r>
              <a:rPr lang="de-DE" sz="1800" kern="0"/>
              <a:t>, </a:t>
            </a:r>
            <a:endParaRPr lang="de-DE" sz="1800" kern="0">
              <a:ea typeface="Tahoma"/>
              <a:cs typeface="Tahoma"/>
            </a:endParaRPr>
          </a:p>
          <a:p>
            <a:pPr marL="863600" lvl="1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de-DE" sz="1800" kern="0" err="1"/>
              <a:t>title.basics.tsv</a:t>
            </a:r>
            <a:r>
              <a:rPr lang="de-DE" sz="1800" kern="0"/>
              <a:t>, </a:t>
            </a:r>
          </a:p>
          <a:p>
            <a:pPr marL="864163" lvl="1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de-DE" sz="1800" kern="0" err="1"/>
              <a:t>title.crew.tsv</a:t>
            </a:r>
            <a:r>
              <a:rPr lang="de-DE" sz="1800" kern="0"/>
              <a:t>, </a:t>
            </a:r>
            <a:endParaRPr lang="de-DE" sz="1800" kern="0">
              <a:ea typeface="Tahoma"/>
              <a:cs typeface="Tahoma"/>
            </a:endParaRPr>
          </a:p>
          <a:p>
            <a:pPr marL="863600" lvl="1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de-DE" sz="1800" kern="0" err="1"/>
              <a:t>title.episode.tsv</a:t>
            </a:r>
            <a:endParaRPr lang="de-DE" sz="1800" kern="0">
              <a:ea typeface="Tahoma"/>
              <a:cs typeface="Tahoma"/>
            </a:endParaRPr>
          </a:p>
          <a:p>
            <a:pPr marL="342900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de-DE" sz="1800" i="1" kern="0"/>
              <a:t>link.csv </a:t>
            </a:r>
            <a:r>
              <a:rPr lang="de-DE" sz="1800" kern="0" err="1"/>
              <a:t>matches</a:t>
            </a:r>
            <a:r>
              <a:rPr lang="de-DE" sz="1800" kern="0"/>
              <a:t> </a:t>
            </a:r>
            <a:r>
              <a:rPr lang="de-DE" sz="1800" kern="0" err="1"/>
              <a:t>MovieLens</a:t>
            </a:r>
            <a:r>
              <a:rPr lang="de-DE" sz="1800" kern="0"/>
              <a:t> </a:t>
            </a:r>
            <a:r>
              <a:rPr lang="de-DE" sz="1800" kern="0" err="1"/>
              <a:t>Ids</a:t>
            </a:r>
            <a:r>
              <a:rPr lang="de-DE" sz="1800" kern="0"/>
              <a:t> </a:t>
            </a:r>
            <a:r>
              <a:rPr lang="de-DE" sz="1800" kern="0" err="1"/>
              <a:t>with</a:t>
            </a:r>
            <a:r>
              <a:rPr lang="de-DE" sz="1800" kern="0"/>
              <a:t> </a:t>
            </a:r>
            <a:r>
              <a:rPr lang="de-DE" sz="1800" kern="0" err="1"/>
              <a:t>Imdb</a:t>
            </a:r>
            <a:r>
              <a:rPr lang="de-DE" sz="1800" kern="0"/>
              <a:t> </a:t>
            </a:r>
            <a:r>
              <a:rPr lang="de-DE" sz="1800" kern="0" err="1"/>
              <a:t>Ids</a:t>
            </a:r>
            <a:endParaRPr lang="de-DE" sz="1800" kern="0"/>
          </a:p>
          <a:p>
            <a:pPr marL="342900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endParaRPr lang="de-DE" sz="1800" kern="0"/>
          </a:p>
          <a:p>
            <a:pPr marL="342900" indent="-342900"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endParaRPr lang="en-US" sz="1800" kern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CBDB6A2-27E5-B6C6-92EA-A3DB8F70407B}"/>
              </a:ext>
            </a:extLst>
          </p:cNvPr>
          <p:cNvSpPr txBox="1"/>
          <p:nvPr/>
        </p:nvSpPr>
        <p:spPr>
          <a:xfrm>
            <a:off x="2849324" y="4370561"/>
            <a:ext cx="3685290" cy="92333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864163" lvl="1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de-DE" sz="1800" kern="0" err="1"/>
              <a:t>title.principals.tsv</a:t>
            </a:r>
            <a:r>
              <a:rPr lang="de-DE" sz="1800" kern="0"/>
              <a:t>, </a:t>
            </a:r>
          </a:p>
          <a:p>
            <a:pPr marL="864163" lvl="1" indent="-342900"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de-DE" sz="1800" kern="0" err="1"/>
              <a:t>title.ratings.tsv</a:t>
            </a:r>
            <a:r>
              <a:rPr lang="de-DE" sz="1800" kern="0"/>
              <a:t>, </a:t>
            </a:r>
          </a:p>
          <a:p>
            <a:pPr marL="864163" lvl="1" indent="-342900"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de-DE" sz="1800" kern="0" err="1"/>
              <a:t>name.basics.tsv</a:t>
            </a:r>
            <a:endParaRPr lang="de-DE" sz="1800" kern="0"/>
          </a:p>
        </p:txBody>
      </p:sp>
    </p:spTree>
    <p:extLst>
      <p:ext uri="{BB962C8B-B14F-4D97-AF65-F5344CB8AC3E}">
        <p14:creationId xmlns:p14="http://schemas.microsoft.com/office/powerpoint/2010/main" val="426641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51">
            <a:extLst>
              <a:ext uri="{FF2B5EF4-FFF2-40B4-BE49-F238E27FC236}">
                <a16:creationId xmlns:a16="http://schemas.microsoft.com/office/drawing/2014/main" id="{37A31358-C64D-BA4B-B76C-08DCCEFFF2BF}"/>
              </a:ext>
            </a:extLst>
          </p:cNvPr>
          <p:cNvSpPr txBox="1">
            <a:spLocks/>
          </p:cNvSpPr>
          <p:nvPr/>
        </p:nvSpPr>
        <p:spPr>
          <a:xfrm>
            <a:off x="323850" y="331812"/>
            <a:ext cx="12815888" cy="791513"/>
          </a:xfrm>
          <a:prstGeom prst="rect">
            <a:avLst/>
          </a:prstGeom>
        </p:spPr>
        <p:txBody>
          <a:bodyPr vert="horz" lIns="0" rIns="0"/>
          <a:lstStyle>
            <a:lvl1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400" b="1" kern="0" smtClean="0">
                <a:solidFill>
                  <a:schemeClr val="tx1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49429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6pPr>
            <a:lvl7pPr marL="898853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7pPr>
            <a:lvl8pPr marL="1348278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8pPr>
            <a:lvl9pPr marL="1797704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buClr>
                <a:srgbClr val="FF8000"/>
              </a:buClr>
            </a:pPr>
            <a:r>
              <a:rPr lang="en-GB" sz="1800">
                <a:solidFill>
                  <a:srgbClr val="002060"/>
                </a:solidFill>
              </a:rPr>
              <a:t>MovieLens20M</a:t>
            </a:r>
          </a:p>
          <a:p>
            <a:pPr>
              <a:buClr>
                <a:srgbClr val="FF8000"/>
              </a:buClr>
            </a:pPr>
            <a:r>
              <a:rPr lang="en-GB" sz="2800">
                <a:solidFill>
                  <a:srgbClr val="002060"/>
                </a:solidFill>
              </a:rPr>
              <a:t>Preprocessing</a:t>
            </a:r>
          </a:p>
        </p:txBody>
      </p:sp>
      <p:sp>
        <p:nvSpPr>
          <p:cNvPr id="28" name="Textplatzhalter 49">
            <a:extLst>
              <a:ext uri="{FF2B5EF4-FFF2-40B4-BE49-F238E27FC236}">
                <a16:creationId xmlns:a16="http://schemas.microsoft.com/office/drawing/2014/main" id="{1707D6E5-FBC2-4348-8CCB-0F1B8C5B4AC0}"/>
              </a:ext>
            </a:extLst>
          </p:cNvPr>
          <p:cNvSpPr txBox="1">
            <a:spLocks/>
          </p:cNvSpPr>
          <p:nvPr/>
        </p:nvSpPr>
        <p:spPr>
          <a:xfrm>
            <a:off x="323849" y="43812"/>
            <a:ext cx="10061121" cy="283618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 defTabSz="978439" rtl="0" eaLnBrk="0" fontAlgn="base" hangingPunct="0"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sz="1600" b="1" baseline="0">
                <a:solidFill>
                  <a:schemeClr val="bg1">
                    <a:lumMod val="65000"/>
                  </a:schemeClr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495668" indent="-247834" algn="l" defTabSz="978439" rtl="0" eaLnBrk="0" fontAlgn="base" hangingPunct="0">
              <a:spcBef>
                <a:spcPts val="295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601882" indent="-212428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13280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4pPr>
            <a:lvl5pPr marL="789616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5pPr>
            <a:lvl6pPr marL="1983407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6pPr>
            <a:lvl7pPr marL="2432832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7pPr>
            <a:lvl8pPr marL="2882261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8pPr>
            <a:lvl9pPr marL="3331684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kern="0">
                <a:solidFill>
                  <a:srgbClr val="FFFFFF">
                    <a:lumMod val="65000"/>
                  </a:srgbClr>
                </a:solidFill>
              </a:rPr>
              <a:t>DATASET</a:t>
            </a:r>
            <a:endParaRPr lang="de-DE"/>
          </a:p>
        </p:txBody>
      </p:sp>
      <p:sp>
        <p:nvSpPr>
          <p:cNvPr id="17" name="Date Placeholder 5">
            <a:extLst>
              <a:ext uri="{FF2B5EF4-FFF2-40B4-BE49-F238E27FC236}">
                <a16:creationId xmlns:a16="http://schemas.microsoft.com/office/drawing/2014/main" id="{D7C184D3-A201-7C37-FC0C-B3150B8122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9201" y="7168438"/>
            <a:ext cx="4675860" cy="324000"/>
          </a:xfrm>
        </p:spPr>
        <p:txBody>
          <a:bodyPr/>
          <a:lstStyle/>
          <a:p>
            <a:r>
              <a:rPr lang="en-GB"/>
              <a:t> | Group 9 | Final Presentation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DC3AD97-0592-875B-6D98-AB5242596641}"/>
              </a:ext>
            </a:extLst>
          </p:cNvPr>
          <p:cNvCxnSpPr/>
          <p:nvPr/>
        </p:nvCxnSpPr>
        <p:spPr bwMode="auto">
          <a:xfrm>
            <a:off x="-11151" y="1215489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0D19F8C-9B53-EDE3-1E9F-870FAACC4B84}"/>
              </a:ext>
            </a:extLst>
          </p:cNvPr>
          <p:cNvCxnSpPr/>
          <p:nvPr/>
        </p:nvCxnSpPr>
        <p:spPr bwMode="auto">
          <a:xfrm>
            <a:off x="-16287" y="7088464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1" name="Tabelle 4">
            <a:extLst>
              <a:ext uri="{FF2B5EF4-FFF2-40B4-BE49-F238E27FC236}">
                <a16:creationId xmlns:a16="http://schemas.microsoft.com/office/drawing/2014/main" id="{CB62AD43-4F87-EAC8-018F-D51EEE045A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569255"/>
              </p:ext>
            </p:extLst>
          </p:nvPr>
        </p:nvGraphicFramePr>
        <p:xfrm>
          <a:off x="1304349" y="2781549"/>
          <a:ext cx="9549369" cy="1478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40000">
                  <a:extLst>
                    <a:ext uri="{9D8B030D-6E8A-4147-A177-3AD203B41FA5}">
                      <a16:colId xmlns:a16="http://schemas.microsoft.com/office/drawing/2014/main" val="170204870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558519622"/>
                    </a:ext>
                  </a:extLst>
                </a:gridCol>
                <a:gridCol w="2853369">
                  <a:extLst>
                    <a:ext uri="{9D8B030D-6E8A-4147-A177-3AD203B41FA5}">
                      <a16:colId xmlns:a16="http://schemas.microsoft.com/office/drawing/2014/main" val="3915085954"/>
                    </a:ext>
                  </a:extLst>
                </a:gridCol>
                <a:gridCol w="4896000">
                  <a:extLst>
                    <a:ext uri="{9D8B030D-6E8A-4147-A177-3AD203B41FA5}">
                      <a16:colId xmlns:a16="http://schemas.microsoft.com/office/drawing/2014/main" val="112195558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endParaRPr lang="en-GB" sz="1800" b="1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800" b="1" err="1">
                          <a:solidFill>
                            <a:srgbClr val="002060"/>
                          </a:solidFill>
                        </a:rPr>
                        <a:t>movieId</a:t>
                      </a:r>
                      <a:endParaRPr lang="en-GB" sz="1800" b="1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titl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genr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8224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Toy Story (1995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err="1"/>
                        <a:t>Adventure|Animation|Children|Comedy|Fantasy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8438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Jumanji (1995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err="1"/>
                        <a:t>Adventure|Children|Fantasy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035365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Grumpier Old Men (1995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err="1"/>
                        <a:t>Comedy|Romance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1687005"/>
                  </a:ext>
                </a:extLst>
              </a:tr>
            </a:tbl>
          </a:graphicData>
        </a:graphic>
      </p:graphicFrame>
      <p:graphicFrame>
        <p:nvGraphicFramePr>
          <p:cNvPr id="13" name="Tabelle 4">
            <a:extLst>
              <a:ext uri="{FF2B5EF4-FFF2-40B4-BE49-F238E27FC236}">
                <a16:creationId xmlns:a16="http://schemas.microsoft.com/office/drawing/2014/main" id="{55DB5FC7-C35B-B96D-590D-723ED5D9AA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1467072"/>
              </p:ext>
            </p:extLst>
          </p:nvPr>
        </p:nvGraphicFramePr>
        <p:xfrm>
          <a:off x="1304348" y="4309596"/>
          <a:ext cx="11844000" cy="1483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40000">
                  <a:extLst>
                    <a:ext uri="{9D8B030D-6E8A-4147-A177-3AD203B41FA5}">
                      <a16:colId xmlns:a16="http://schemas.microsoft.com/office/drawing/2014/main" val="170204870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558519622"/>
                    </a:ext>
                  </a:extLst>
                </a:gridCol>
                <a:gridCol w="1836000">
                  <a:extLst>
                    <a:ext uri="{9D8B030D-6E8A-4147-A177-3AD203B41FA5}">
                      <a16:colId xmlns:a16="http://schemas.microsoft.com/office/drawing/2014/main" val="3915085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202078907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13597558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1121955584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1337532253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1028297407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373203751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GB" sz="1800" b="1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800" b="1" err="1">
                          <a:solidFill>
                            <a:srgbClr val="002060"/>
                          </a:solidFill>
                        </a:rPr>
                        <a:t>movieId</a:t>
                      </a:r>
                      <a:endParaRPr lang="en-GB" sz="1800" b="1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titl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yea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800" b="1" err="1">
                          <a:solidFill>
                            <a:srgbClr val="002060"/>
                          </a:solidFill>
                        </a:rPr>
                        <a:t>year_category</a:t>
                      </a:r>
                      <a:endParaRPr lang="en-GB" sz="1800" b="1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922" rtl="0" eaLnBrk="1" latinLnBrk="0" hangingPunct="1"/>
                      <a:r>
                        <a:rPr lang="en-GB" sz="1800" b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Adventur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922" rtl="0" eaLnBrk="1" latinLnBrk="0" hangingPunct="1"/>
                      <a:r>
                        <a:rPr lang="en-GB" sz="1800" b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Anim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922" rtl="0" eaLnBrk="1" latinLnBrk="0" hangingPunct="1"/>
                      <a:r>
                        <a:rPr lang="en-GB" sz="1800" b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Film-Noi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8224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Toy Stor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199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1.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1.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0.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8438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Jumanji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199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1.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0.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0.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035365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Grumpier Old Me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199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/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0.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0.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0.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1687005"/>
                  </a:ext>
                </a:extLst>
              </a:tr>
            </a:tbl>
          </a:graphicData>
        </a:graphic>
      </p:graphicFrame>
      <p:sp>
        <p:nvSpPr>
          <p:cNvPr id="14" name="Oval 1">
            <a:extLst>
              <a:ext uri="{FF2B5EF4-FFF2-40B4-BE49-F238E27FC236}">
                <a16:creationId xmlns:a16="http://schemas.microsoft.com/office/drawing/2014/main" id="{36EC8649-4F47-F453-AEB7-0E2AD6BD0F1A}"/>
              </a:ext>
            </a:extLst>
          </p:cNvPr>
          <p:cNvSpPr/>
          <p:nvPr/>
        </p:nvSpPr>
        <p:spPr bwMode="auto">
          <a:xfrm>
            <a:off x="301815" y="3975149"/>
            <a:ext cx="648000" cy="648000"/>
          </a:xfrm>
          <a:prstGeom prst="ellipse">
            <a:avLst/>
          </a:prstGeom>
          <a:solidFill>
            <a:srgbClr val="00206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82941" tIns="41720" rIns="81561" bIns="41720" numCol="1" rtlCol="0" anchor="ctr" anchorCtr="0" compatLnSpc="1">
            <a:prstTxWarp prst="textNoShape">
              <a:avLst/>
            </a:prstTxWarp>
          </a:bodyPr>
          <a:lstStyle/>
          <a:p>
            <a:pPr algn="ctr" defTabSz="790740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defRPr/>
            </a:pPr>
            <a:r>
              <a:rPr lang="en-US" sz="2400" b="1">
                <a:solidFill>
                  <a:schemeClr val="bg1"/>
                </a:solidFill>
                <a:latin typeface="Arial" charset="0"/>
              </a:rPr>
              <a:t>2</a:t>
            </a:r>
          </a:p>
        </p:txBody>
      </p:sp>
      <p:sp>
        <p:nvSpPr>
          <p:cNvPr id="15" name="Oval 1">
            <a:extLst>
              <a:ext uri="{FF2B5EF4-FFF2-40B4-BE49-F238E27FC236}">
                <a16:creationId xmlns:a16="http://schemas.microsoft.com/office/drawing/2014/main" id="{C930F903-B9FB-7BED-163F-713B3AA7405E}"/>
              </a:ext>
            </a:extLst>
          </p:cNvPr>
          <p:cNvSpPr/>
          <p:nvPr/>
        </p:nvSpPr>
        <p:spPr bwMode="auto">
          <a:xfrm>
            <a:off x="305768" y="6086624"/>
            <a:ext cx="648000" cy="648000"/>
          </a:xfrm>
          <a:prstGeom prst="ellipse">
            <a:avLst/>
          </a:prstGeom>
          <a:solidFill>
            <a:srgbClr val="00206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82941" tIns="41720" rIns="81561" bIns="41720" numCol="1" rtlCol="0" anchor="ctr" anchorCtr="0" compatLnSpc="1">
            <a:prstTxWarp prst="textNoShape">
              <a:avLst/>
            </a:prstTxWarp>
          </a:bodyPr>
          <a:lstStyle/>
          <a:p>
            <a:pPr algn="ctr" defTabSz="790740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defRPr/>
            </a:pPr>
            <a:r>
              <a:rPr lang="en-US" sz="2400" b="1">
                <a:solidFill>
                  <a:schemeClr val="bg1"/>
                </a:solidFill>
                <a:latin typeface="Arial" charset="0"/>
              </a:rPr>
              <a:t>3</a:t>
            </a:r>
          </a:p>
        </p:txBody>
      </p:sp>
      <p:sp>
        <p:nvSpPr>
          <p:cNvPr id="16" name="Oval 1">
            <a:extLst>
              <a:ext uri="{FF2B5EF4-FFF2-40B4-BE49-F238E27FC236}">
                <a16:creationId xmlns:a16="http://schemas.microsoft.com/office/drawing/2014/main" id="{D504236A-4462-555B-892D-05695754252D}"/>
              </a:ext>
            </a:extLst>
          </p:cNvPr>
          <p:cNvSpPr/>
          <p:nvPr/>
        </p:nvSpPr>
        <p:spPr bwMode="auto">
          <a:xfrm>
            <a:off x="301815" y="1692623"/>
            <a:ext cx="648000" cy="648000"/>
          </a:xfrm>
          <a:prstGeom prst="ellipse">
            <a:avLst/>
          </a:prstGeom>
          <a:solidFill>
            <a:srgbClr val="00206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82941" tIns="41720" rIns="81561" bIns="41720" numCol="1" rtlCol="0" anchor="ctr" anchorCtr="0" compatLnSpc="1">
            <a:prstTxWarp prst="textNoShape">
              <a:avLst/>
            </a:prstTxWarp>
          </a:bodyPr>
          <a:lstStyle/>
          <a:p>
            <a:pPr algn="ctr" defTabSz="790740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defRPr/>
            </a:pPr>
            <a:r>
              <a:rPr lang="en-US" sz="2400" b="1">
                <a:solidFill>
                  <a:schemeClr val="bg1"/>
                </a:solidFill>
                <a:latin typeface="Arial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0AA71DB-9786-DA02-53A5-645B2A147E11}"/>
              </a:ext>
            </a:extLst>
          </p:cNvPr>
          <p:cNvSpPr/>
          <p:nvPr/>
        </p:nvSpPr>
        <p:spPr bwMode="auto">
          <a:xfrm>
            <a:off x="1304347" y="1350426"/>
            <a:ext cx="9549369" cy="13299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4400" tIns="52516" rIns="102663" bIns="52516" numCol="1" rtlCol="0" anchor="t" anchorCtr="0" compatLnSpc="1">
            <a:prstTxWarp prst="textNoShape">
              <a:avLst/>
            </a:prstTxWarp>
          </a:bodyPr>
          <a:lstStyle/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 b="1">
                <a:latin typeface="Arial" charset="0"/>
              </a:rPr>
              <a:t>No</a:t>
            </a:r>
            <a:r>
              <a:rPr lang="en-US" sz="1800">
                <a:latin typeface="Arial" charset="0"/>
              </a:rPr>
              <a:t> missing values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 b="1">
                <a:latin typeface="Arial" charset="0"/>
              </a:rPr>
              <a:t>No</a:t>
            </a:r>
            <a:r>
              <a:rPr lang="en-US" sz="1800">
                <a:latin typeface="Arial" charset="0"/>
              </a:rPr>
              <a:t> duplicates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endParaRPr lang="en-US" sz="1800">
              <a:latin typeface="Arial" charset="0"/>
            </a:endParaRP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 b="1">
                <a:latin typeface="Arial" charset="0"/>
              </a:rPr>
              <a:t>19 missing release years </a:t>
            </a:r>
            <a:r>
              <a:rPr lang="en-US" sz="1800">
                <a:latin typeface="Arial" charset="0"/>
              </a:rPr>
              <a:t>that were researched and added to the title for completenes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880C961-84E9-77D4-1201-5C2B17751CCF}"/>
              </a:ext>
            </a:extLst>
          </p:cNvPr>
          <p:cNvSpPr/>
          <p:nvPr/>
        </p:nvSpPr>
        <p:spPr bwMode="auto">
          <a:xfrm>
            <a:off x="1304347" y="5902654"/>
            <a:ext cx="9470150" cy="10159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4400" tIns="52516" rIns="102663" bIns="52516" numCol="1" rtlCol="0" anchor="t" anchorCtr="0" compatLnSpc="1">
            <a:prstTxWarp prst="textNoShape">
              <a:avLst/>
            </a:prstTxWarp>
          </a:bodyPr>
          <a:lstStyle/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 b="1">
                <a:latin typeface="Arial" charset="0"/>
              </a:rPr>
              <a:t>Downsizing</a:t>
            </a:r>
            <a:r>
              <a:rPr lang="en-US" sz="1800">
                <a:latin typeface="Arial" charset="0"/>
              </a:rPr>
              <a:t> strategy to comply to RAM capacity constraints → </a:t>
            </a:r>
            <a:r>
              <a:rPr lang="en-US" sz="1800" b="1">
                <a:latin typeface="Arial" charset="0"/>
              </a:rPr>
              <a:t>7.5M</a:t>
            </a:r>
            <a:r>
              <a:rPr lang="en-US" sz="1800">
                <a:latin typeface="Arial" charset="0"/>
              </a:rPr>
              <a:t> ratings</a:t>
            </a: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endParaRPr lang="en-US" sz="1800">
              <a:latin typeface="Arial" charset="0"/>
            </a:endParaRPr>
          </a:p>
          <a:p>
            <a:pPr marL="285750" indent="-285750" defTabSz="995363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1800">
                <a:latin typeface="Arial" charset="0"/>
              </a:rPr>
              <a:t>Train-Test-Split: </a:t>
            </a:r>
            <a:r>
              <a:rPr lang="en-US" sz="1800" b="1">
                <a:latin typeface="Arial" charset="0"/>
              </a:rPr>
              <a:t>“Leave One Last Basket” </a:t>
            </a:r>
            <a:r>
              <a:rPr lang="en-US" sz="1800">
                <a:latin typeface="Arial" charset="0"/>
              </a:rPr>
              <a:t>method</a:t>
            </a:r>
          </a:p>
        </p:txBody>
      </p:sp>
    </p:spTree>
    <p:extLst>
      <p:ext uri="{BB962C8B-B14F-4D97-AF65-F5344CB8AC3E}">
        <p14:creationId xmlns:p14="http://schemas.microsoft.com/office/powerpoint/2010/main" val="37370564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C65B7F4-6293-DC41-9CFC-245F67E589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C41ADEA-A619-E540-A93F-56AAAB823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E59BC7B-44DD-394F-8CC5-3764DA693F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4D8D99-31A6-CE44-A4D9-5366428C25E9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Rechteck 3">
            <a:extLst>
              <a:ext uri="{FF2B5EF4-FFF2-40B4-BE49-F238E27FC236}">
                <a16:creationId xmlns:a16="http://schemas.microsoft.com/office/drawing/2014/main" id="{1F62F35F-4DBA-1949-821E-08FC4CD7FD7B}"/>
              </a:ext>
            </a:extLst>
          </p:cNvPr>
          <p:cNvSpPr/>
          <p:nvPr/>
        </p:nvSpPr>
        <p:spPr>
          <a:xfrm>
            <a:off x="-794" y="0"/>
            <a:ext cx="13447713" cy="7564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316"/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id="{BE0F0CA0-9F76-424D-B8C8-30D3757557F4}"/>
              </a:ext>
            </a:extLst>
          </p:cNvPr>
          <p:cNvSpPr/>
          <p:nvPr/>
        </p:nvSpPr>
        <p:spPr bwMode="auto">
          <a:xfrm>
            <a:off x="7264479" y="2112426"/>
            <a:ext cx="5614838" cy="897730"/>
          </a:xfrm>
          <a:prstGeom prst="rect">
            <a:avLst/>
          </a:prstGeom>
          <a:solidFill>
            <a:schemeClr val="accent4">
              <a:lumMod val="50000"/>
              <a:alpha val="63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605" tIns="50303" rIns="100605" bIns="503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22296" lvl="1" defTabSz="1039864"/>
            <a:r>
              <a:rPr lang="de-DE" sz="2394" b="1">
                <a:solidFill>
                  <a:srgbClr val="FFFFFF"/>
                </a:solidFill>
                <a:latin typeface="Tahoma"/>
              </a:rPr>
              <a:t>Dataset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49C70B37-0CE0-064F-AE72-7A65C1AE6FAB}"/>
              </a:ext>
            </a:extLst>
          </p:cNvPr>
          <p:cNvSpPr/>
          <p:nvPr/>
        </p:nvSpPr>
        <p:spPr bwMode="auto">
          <a:xfrm>
            <a:off x="7264479" y="3391027"/>
            <a:ext cx="5614838" cy="897730"/>
          </a:xfrm>
          <a:prstGeom prst="rect">
            <a:avLst/>
          </a:prstGeom>
          <a:solidFill>
            <a:schemeClr val="accent4">
              <a:lumMod val="50000"/>
              <a:alpha val="63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605" tIns="50303" rIns="100605" bIns="503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22296" lvl="1" defTabSz="1039864"/>
            <a:r>
              <a:rPr lang="en-GB" sz="2394" b="1">
                <a:solidFill>
                  <a:srgbClr val="FFFFFF"/>
                </a:solidFill>
                <a:latin typeface="Tahoma"/>
              </a:rPr>
              <a:t>Recommendation</a:t>
            </a:r>
            <a:r>
              <a:rPr lang="de-DE" sz="2394" b="1">
                <a:solidFill>
                  <a:srgbClr val="FFFFFF"/>
                </a:solidFill>
                <a:latin typeface="Tahoma"/>
              </a:rPr>
              <a:t> System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8D9CD8C6-4DFD-3E48-863A-3C6A0D0A4E16}"/>
              </a:ext>
            </a:extLst>
          </p:cNvPr>
          <p:cNvSpPr/>
          <p:nvPr/>
        </p:nvSpPr>
        <p:spPr bwMode="auto">
          <a:xfrm>
            <a:off x="7264479" y="4669628"/>
            <a:ext cx="5614838" cy="897730"/>
          </a:xfrm>
          <a:prstGeom prst="rect">
            <a:avLst/>
          </a:prstGeom>
          <a:solidFill>
            <a:schemeClr val="accent4">
              <a:lumMod val="50000"/>
              <a:alpha val="63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605" tIns="50303" rIns="100605" bIns="503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22296" lvl="1" defTabSz="1039864"/>
            <a:r>
              <a:rPr lang="en-GB" sz="2394" b="1">
                <a:solidFill>
                  <a:srgbClr val="FFFFFF"/>
                </a:solidFill>
                <a:latin typeface="Tahoma"/>
              </a:rPr>
              <a:t>Results</a:t>
            </a:r>
          </a:p>
        </p:txBody>
      </p:sp>
      <p:sp>
        <p:nvSpPr>
          <p:cNvPr id="10" name="Textfeld 27">
            <a:extLst>
              <a:ext uri="{FF2B5EF4-FFF2-40B4-BE49-F238E27FC236}">
                <a16:creationId xmlns:a16="http://schemas.microsoft.com/office/drawing/2014/main" id="{7F6FC69D-5570-8C4A-8297-800323F9FA12}"/>
              </a:ext>
            </a:extLst>
          </p:cNvPr>
          <p:cNvSpPr txBox="1"/>
          <p:nvPr/>
        </p:nvSpPr>
        <p:spPr>
          <a:xfrm>
            <a:off x="7264480" y="2130189"/>
            <a:ext cx="532878" cy="862213"/>
          </a:xfrm>
          <a:prstGeom prst="rect">
            <a:avLst/>
          </a:prstGeom>
          <a:noFill/>
        </p:spPr>
        <p:txBody>
          <a:bodyPr wrap="square" lIns="143636" tIns="107663" rIns="0" bIns="107663" rtlCol="0" anchor="ctr">
            <a:spAutoFit/>
          </a:bodyPr>
          <a:lstStyle>
            <a:defPPr>
              <a:defRPr lang="de-DE"/>
            </a:defPPr>
            <a:lvl1pPr defTabSz="91417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  <a:defRPr sz="1800" b="1">
                <a:ea typeface="ＭＳ Ｐゴシック" charset="0"/>
                <a:cs typeface="Tahoma"/>
              </a:defRPr>
            </a:lvl1pPr>
          </a:lstStyle>
          <a:p>
            <a:pPr defTabSz="911839">
              <a:tabLst>
                <a:tab pos="446263" algn="l"/>
                <a:tab pos="536468" algn="l"/>
              </a:tabLst>
            </a:pPr>
            <a:r>
              <a:rPr lang="de-DE" sz="4190">
                <a:solidFill>
                  <a:srgbClr val="FFFFFF"/>
                </a:solidFill>
                <a:latin typeface="Tahoma"/>
              </a:rPr>
              <a:t>1</a:t>
            </a:r>
          </a:p>
        </p:txBody>
      </p:sp>
      <p:sp>
        <p:nvSpPr>
          <p:cNvPr id="11" name="Textfeld 27">
            <a:extLst>
              <a:ext uri="{FF2B5EF4-FFF2-40B4-BE49-F238E27FC236}">
                <a16:creationId xmlns:a16="http://schemas.microsoft.com/office/drawing/2014/main" id="{D23ED5DF-773B-7B4A-9D52-CACCECBF7A3D}"/>
              </a:ext>
            </a:extLst>
          </p:cNvPr>
          <p:cNvSpPr txBox="1"/>
          <p:nvPr/>
        </p:nvSpPr>
        <p:spPr>
          <a:xfrm>
            <a:off x="7264480" y="4687388"/>
            <a:ext cx="532878" cy="862213"/>
          </a:xfrm>
          <a:prstGeom prst="rect">
            <a:avLst/>
          </a:prstGeom>
          <a:noFill/>
        </p:spPr>
        <p:txBody>
          <a:bodyPr wrap="square" lIns="143636" tIns="107663" rIns="0" bIns="107663" rtlCol="0" anchor="ctr">
            <a:spAutoFit/>
          </a:bodyPr>
          <a:lstStyle>
            <a:defPPr>
              <a:defRPr lang="de-DE"/>
            </a:defPPr>
            <a:lvl1pPr defTabSz="91417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  <a:defRPr sz="1800" b="1">
                <a:ea typeface="ＭＳ Ｐゴシック" charset="0"/>
                <a:cs typeface="Tahoma"/>
              </a:defRPr>
            </a:lvl1pPr>
          </a:lstStyle>
          <a:p>
            <a:pPr defTabSz="911839">
              <a:tabLst>
                <a:tab pos="446263" algn="l"/>
                <a:tab pos="536468" algn="l"/>
              </a:tabLst>
            </a:pPr>
            <a:r>
              <a:rPr lang="de-DE" sz="4190">
                <a:solidFill>
                  <a:srgbClr val="FFFFFF"/>
                </a:solidFill>
                <a:latin typeface="Tahoma"/>
              </a:rPr>
              <a:t>3</a:t>
            </a:r>
          </a:p>
        </p:txBody>
      </p:sp>
      <p:sp>
        <p:nvSpPr>
          <p:cNvPr id="12" name="Textfeld 27">
            <a:extLst>
              <a:ext uri="{FF2B5EF4-FFF2-40B4-BE49-F238E27FC236}">
                <a16:creationId xmlns:a16="http://schemas.microsoft.com/office/drawing/2014/main" id="{A71B15A4-657F-354E-ADF2-081300E926EB}"/>
              </a:ext>
            </a:extLst>
          </p:cNvPr>
          <p:cNvSpPr txBox="1"/>
          <p:nvPr/>
        </p:nvSpPr>
        <p:spPr>
          <a:xfrm>
            <a:off x="7264480" y="3408788"/>
            <a:ext cx="532878" cy="862213"/>
          </a:xfrm>
          <a:prstGeom prst="rect">
            <a:avLst/>
          </a:prstGeom>
          <a:noFill/>
        </p:spPr>
        <p:txBody>
          <a:bodyPr wrap="square" lIns="143636" tIns="107663" rIns="0" bIns="107663" rtlCol="0" anchor="ctr">
            <a:spAutoFit/>
          </a:bodyPr>
          <a:lstStyle>
            <a:defPPr>
              <a:defRPr lang="de-DE"/>
            </a:defPPr>
            <a:lvl1pPr defTabSz="91417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  <a:defRPr sz="1800" b="1">
                <a:ea typeface="ＭＳ Ｐゴシック" charset="0"/>
                <a:cs typeface="Tahoma"/>
              </a:defRPr>
            </a:lvl1pPr>
          </a:lstStyle>
          <a:p>
            <a:pPr defTabSz="911839">
              <a:tabLst>
                <a:tab pos="446263" algn="l"/>
                <a:tab pos="536468" algn="l"/>
              </a:tabLst>
            </a:pPr>
            <a:r>
              <a:rPr lang="de-DE" sz="4190">
                <a:solidFill>
                  <a:srgbClr val="FFFFFF"/>
                </a:solidFill>
                <a:latin typeface="Tahoma"/>
              </a:rPr>
              <a:t>2</a:t>
            </a:r>
          </a:p>
        </p:txBody>
      </p:sp>
      <p:sp>
        <p:nvSpPr>
          <p:cNvPr id="13" name="Textfeld 27">
            <a:extLst>
              <a:ext uri="{FF2B5EF4-FFF2-40B4-BE49-F238E27FC236}">
                <a16:creationId xmlns:a16="http://schemas.microsoft.com/office/drawing/2014/main" id="{CE96757E-B696-054F-B67F-2255C34284CB}"/>
              </a:ext>
            </a:extLst>
          </p:cNvPr>
          <p:cNvSpPr txBox="1"/>
          <p:nvPr/>
        </p:nvSpPr>
        <p:spPr>
          <a:xfrm>
            <a:off x="7264480" y="5965991"/>
            <a:ext cx="532878" cy="862213"/>
          </a:xfrm>
          <a:prstGeom prst="rect">
            <a:avLst/>
          </a:prstGeom>
          <a:noFill/>
        </p:spPr>
        <p:txBody>
          <a:bodyPr wrap="square" lIns="143636" tIns="107663" rIns="0" bIns="107663" rtlCol="0" anchor="ctr">
            <a:spAutoFit/>
          </a:bodyPr>
          <a:lstStyle>
            <a:defPPr>
              <a:defRPr lang="de-DE"/>
            </a:defPPr>
            <a:lvl1pPr defTabSz="91417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  <a:defRPr sz="1800" b="1">
                <a:ea typeface="ＭＳ Ｐゴシック" charset="0"/>
                <a:cs typeface="Tahoma"/>
              </a:defRPr>
            </a:lvl1pPr>
          </a:lstStyle>
          <a:p>
            <a:pPr defTabSz="911839">
              <a:tabLst>
                <a:tab pos="446263" algn="l"/>
                <a:tab pos="536468" algn="l"/>
              </a:tabLst>
            </a:pPr>
            <a:r>
              <a:rPr lang="de-DE" sz="4190">
                <a:solidFill>
                  <a:srgbClr val="FFFFFF"/>
                </a:solidFill>
                <a:latin typeface="Tahoma"/>
              </a:rPr>
              <a:t>4</a:t>
            </a:r>
          </a:p>
        </p:txBody>
      </p:sp>
      <p:sp>
        <p:nvSpPr>
          <p:cNvPr id="14" name="Titel 5">
            <a:extLst>
              <a:ext uri="{FF2B5EF4-FFF2-40B4-BE49-F238E27FC236}">
                <a16:creationId xmlns:a16="http://schemas.microsoft.com/office/drawing/2014/main" id="{650921DC-8B6D-8546-AE9B-2A13BF42CB29}"/>
              </a:ext>
            </a:extLst>
          </p:cNvPr>
          <p:cNvSpPr txBox="1">
            <a:spLocks/>
          </p:cNvSpPr>
          <p:nvPr/>
        </p:nvSpPr>
        <p:spPr>
          <a:xfrm>
            <a:off x="7264479" y="1151760"/>
            <a:ext cx="10276926" cy="646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39499" rIns="0" bIns="0" numCol="1" anchor="b" anchorCtr="0" compatLnSpc="1">
            <a:prstTxWarp prst="textNoShape">
              <a:avLst/>
            </a:prstTxWarp>
          </a:bodyPr>
          <a:lstStyle>
            <a:lvl1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1900" b="1" kern="0" smtClean="0">
                <a:solidFill>
                  <a:schemeClr val="accent5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92348">
              <a:buClr>
                <a:srgbClr val="B1FEEB"/>
              </a:buClr>
            </a:pPr>
            <a:r>
              <a:rPr lang="de-DE" sz="3524" kern="1200">
                <a:solidFill>
                  <a:srgbClr val="002060"/>
                </a:solidFill>
                <a:latin typeface="+mj-lt"/>
                <a:ea typeface="+mn-ea"/>
              </a:rPr>
              <a:t>Agenda</a:t>
            </a: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5DA2E3D7-8ACA-034E-9E86-4ED14601D39E}"/>
              </a:ext>
            </a:extLst>
          </p:cNvPr>
          <p:cNvSpPr/>
          <p:nvPr/>
        </p:nvSpPr>
        <p:spPr>
          <a:xfrm>
            <a:off x="7002350" y="4485375"/>
            <a:ext cx="6317516" cy="1269055"/>
          </a:xfrm>
          <a:prstGeom prst="rect">
            <a:avLst/>
          </a:prstGeom>
          <a:solidFill>
            <a:schemeClr val="bg1">
              <a:alpha val="5016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83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AFA52096-1D76-1B29-370D-DA042CB36F7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5" r="41171"/>
          <a:stretch/>
        </p:blipFill>
        <p:spPr>
          <a:xfrm>
            <a:off x="-17848" y="0"/>
            <a:ext cx="6611528" cy="7564437"/>
          </a:xfrm>
          <a:prstGeom prst="rect">
            <a:avLst/>
          </a:prstGeom>
        </p:spPr>
      </p:pic>
      <p:sp>
        <p:nvSpPr>
          <p:cNvPr id="16" name="Rechteck 3">
            <a:extLst>
              <a:ext uri="{FF2B5EF4-FFF2-40B4-BE49-F238E27FC236}">
                <a16:creationId xmlns:a16="http://schemas.microsoft.com/office/drawing/2014/main" id="{E45D7BDC-13FF-2747-AC92-30AA33E05B3B}"/>
              </a:ext>
            </a:extLst>
          </p:cNvPr>
          <p:cNvSpPr/>
          <p:nvPr/>
        </p:nvSpPr>
        <p:spPr>
          <a:xfrm>
            <a:off x="-17848" y="-1"/>
            <a:ext cx="6643903" cy="756443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316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AFC33C68-96AD-0A6B-92DF-2D4CC9A69954}"/>
              </a:ext>
            </a:extLst>
          </p:cNvPr>
          <p:cNvSpPr/>
          <p:nvPr/>
        </p:nvSpPr>
        <p:spPr>
          <a:xfrm>
            <a:off x="6723062" y="1925353"/>
            <a:ext cx="6317516" cy="1269055"/>
          </a:xfrm>
          <a:prstGeom prst="rect">
            <a:avLst/>
          </a:prstGeom>
          <a:solidFill>
            <a:schemeClr val="bg1">
              <a:alpha val="5016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83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64893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51">
            <a:extLst>
              <a:ext uri="{FF2B5EF4-FFF2-40B4-BE49-F238E27FC236}">
                <a16:creationId xmlns:a16="http://schemas.microsoft.com/office/drawing/2014/main" id="{37A31358-C64D-BA4B-B76C-08DCCEFFF2BF}"/>
              </a:ext>
            </a:extLst>
          </p:cNvPr>
          <p:cNvSpPr txBox="1">
            <a:spLocks/>
          </p:cNvSpPr>
          <p:nvPr/>
        </p:nvSpPr>
        <p:spPr>
          <a:xfrm>
            <a:off x="323850" y="331812"/>
            <a:ext cx="12815888" cy="791513"/>
          </a:xfrm>
          <a:prstGeom prst="rect">
            <a:avLst/>
          </a:prstGeom>
        </p:spPr>
        <p:txBody>
          <a:bodyPr vert="horz" lIns="0" rIns="0" anchor="ctr"/>
          <a:lstStyle>
            <a:lvl1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400" b="1" kern="0" smtClean="0">
                <a:solidFill>
                  <a:schemeClr val="tx1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49429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6pPr>
            <a:lvl7pPr marL="898853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7pPr>
            <a:lvl8pPr marL="1348278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8pPr>
            <a:lvl9pPr marL="1797704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buClr>
                <a:srgbClr val="FF8000"/>
              </a:buClr>
            </a:pPr>
            <a:r>
              <a:rPr lang="en-GB">
                <a:solidFill>
                  <a:srgbClr val="002060"/>
                </a:solidFill>
              </a:rPr>
              <a:t>Hybrid Recommendation System</a:t>
            </a:r>
          </a:p>
        </p:txBody>
      </p:sp>
      <p:sp>
        <p:nvSpPr>
          <p:cNvPr id="28" name="Textplatzhalter 49">
            <a:extLst>
              <a:ext uri="{FF2B5EF4-FFF2-40B4-BE49-F238E27FC236}">
                <a16:creationId xmlns:a16="http://schemas.microsoft.com/office/drawing/2014/main" id="{1707D6E5-FBC2-4348-8CCB-0F1B8C5B4AC0}"/>
              </a:ext>
            </a:extLst>
          </p:cNvPr>
          <p:cNvSpPr txBox="1">
            <a:spLocks/>
          </p:cNvSpPr>
          <p:nvPr/>
        </p:nvSpPr>
        <p:spPr>
          <a:xfrm>
            <a:off x="323849" y="43812"/>
            <a:ext cx="10061121" cy="283618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 defTabSz="978439" rtl="0" eaLnBrk="0" fontAlgn="base" hangingPunct="0"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sz="1600" b="1" baseline="0">
                <a:solidFill>
                  <a:schemeClr val="bg1">
                    <a:lumMod val="65000"/>
                  </a:schemeClr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495668" indent="-247834" algn="l" defTabSz="978439" rtl="0" eaLnBrk="0" fontAlgn="base" hangingPunct="0">
              <a:spcBef>
                <a:spcPts val="295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601882" indent="-212428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13280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4pPr>
            <a:lvl5pPr marL="789616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5pPr>
            <a:lvl6pPr marL="1983407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6pPr>
            <a:lvl7pPr marL="2432832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7pPr>
            <a:lvl8pPr marL="2882261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8pPr>
            <a:lvl9pPr marL="3331684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kern="0">
                <a:solidFill>
                  <a:srgbClr val="FFFFFF">
                    <a:lumMod val="65000"/>
                  </a:srgbClr>
                </a:solidFill>
              </a:rPr>
              <a:t>RECOMMENDATION SYSTEM</a:t>
            </a:r>
            <a:endParaRPr lang="de-DE"/>
          </a:p>
        </p:txBody>
      </p:sp>
      <p:sp>
        <p:nvSpPr>
          <p:cNvPr id="17" name="Date Placeholder 5">
            <a:extLst>
              <a:ext uri="{FF2B5EF4-FFF2-40B4-BE49-F238E27FC236}">
                <a16:creationId xmlns:a16="http://schemas.microsoft.com/office/drawing/2014/main" id="{D7C184D3-A201-7C37-FC0C-B3150B8122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9201" y="7168438"/>
            <a:ext cx="4675860" cy="324000"/>
          </a:xfrm>
        </p:spPr>
        <p:txBody>
          <a:bodyPr/>
          <a:lstStyle/>
          <a:p>
            <a:r>
              <a:rPr lang="en-GB"/>
              <a:t> | Group 9 | Final Presentation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DC3AD97-0592-875B-6D98-AB5242596641}"/>
              </a:ext>
            </a:extLst>
          </p:cNvPr>
          <p:cNvCxnSpPr/>
          <p:nvPr/>
        </p:nvCxnSpPr>
        <p:spPr bwMode="auto">
          <a:xfrm>
            <a:off x="-11151" y="1215489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Abgerundetes Rechteck 33">
            <a:extLst>
              <a:ext uri="{FF2B5EF4-FFF2-40B4-BE49-F238E27FC236}">
                <a16:creationId xmlns:a16="http://schemas.microsoft.com/office/drawing/2014/main" id="{593286EF-67D2-5F6C-080C-8D4F1A4830FA}"/>
              </a:ext>
            </a:extLst>
          </p:cNvPr>
          <p:cNvSpPr/>
          <p:nvPr/>
        </p:nvSpPr>
        <p:spPr bwMode="auto">
          <a:xfrm>
            <a:off x="895350" y="1361433"/>
            <a:ext cx="8627792" cy="5429651"/>
          </a:xfrm>
          <a:prstGeom prst="roundRect">
            <a:avLst>
              <a:gd name="adj" fmla="val 10300"/>
            </a:avLst>
          </a:prstGeom>
          <a:solidFill>
            <a:srgbClr val="B0B6C5">
              <a:alpha val="40000"/>
            </a:srgbClr>
          </a:solidFill>
          <a:ln w="1270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0D19F8C-9B53-EDE3-1E9F-870FAACC4B84}"/>
              </a:ext>
            </a:extLst>
          </p:cNvPr>
          <p:cNvCxnSpPr/>
          <p:nvPr/>
        </p:nvCxnSpPr>
        <p:spPr bwMode="auto">
          <a:xfrm>
            <a:off x="-16287" y="7088464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Abgerundetes Rechteck 33">
            <a:extLst>
              <a:ext uri="{FF2B5EF4-FFF2-40B4-BE49-F238E27FC236}">
                <a16:creationId xmlns:a16="http://schemas.microsoft.com/office/drawing/2014/main" id="{4178376A-B647-A5C5-9343-1F3F7CFF6587}"/>
              </a:ext>
            </a:extLst>
          </p:cNvPr>
          <p:cNvSpPr/>
          <p:nvPr/>
        </p:nvSpPr>
        <p:spPr bwMode="auto">
          <a:xfrm>
            <a:off x="1276176" y="1595761"/>
            <a:ext cx="2325308" cy="2329748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8" name="Abgerundetes Rechteck 33">
            <a:extLst>
              <a:ext uri="{FF2B5EF4-FFF2-40B4-BE49-F238E27FC236}">
                <a16:creationId xmlns:a16="http://schemas.microsoft.com/office/drawing/2014/main" id="{00551520-BE72-DA2E-4418-8BEA69846AAC}"/>
              </a:ext>
            </a:extLst>
          </p:cNvPr>
          <p:cNvSpPr/>
          <p:nvPr/>
        </p:nvSpPr>
        <p:spPr bwMode="auto">
          <a:xfrm>
            <a:off x="1276176" y="4194114"/>
            <a:ext cx="2325308" cy="2329748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9" name="Abgerundetes Rechteck 33">
            <a:extLst>
              <a:ext uri="{FF2B5EF4-FFF2-40B4-BE49-F238E27FC236}">
                <a16:creationId xmlns:a16="http://schemas.microsoft.com/office/drawing/2014/main" id="{32E119C9-5B05-5301-88E8-55774C4A1764}"/>
              </a:ext>
            </a:extLst>
          </p:cNvPr>
          <p:cNvSpPr/>
          <p:nvPr/>
        </p:nvSpPr>
        <p:spPr bwMode="auto">
          <a:xfrm>
            <a:off x="4015572" y="4194114"/>
            <a:ext cx="2325308" cy="2329748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10" name="Abgerundetes Rechteck 33">
            <a:extLst>
              <a:ext uri="{FF2B5EF4-FFF2-40B4-BE49-F238E27FC236}">
                <a16:creationId xmlns:a16="http://schemas.microsoft.com/office/drawing/2014/main" id="{A42B6033-3B8E-D8A5-B196-E5A85D2F73F1}"/>
              </a:ext>
            </a:extLst>
          </p:cNvPr>
          <p:cNvSpPr/>
          <p:nvPr/>
        </p:nvSpPr>
        <p:spPr bwMode="auto">
          <a:xfrm>
            <a:off x="6754968" y="4194114"/>
            <a:ext cx="2325308" cy="2329748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11" name="Abgerundetes Rechteck 33">
            <a:extLst>
              <a:ext uri="{FF2B5EF4-FFF2-40B4-BE49-F238E27FC236}">
                <a16:creationId xmlns:a16="http://schemas.microsoft.com/office/drawing/2014/main" id="{DFAC2FDD-EE25-11E3-CB76-F4D29CAD8528}"/>
              </a:ext>
            </a:extLst>
          </p:cNvPr>
          <p:cNvSpPr/>
          <p:nvPr/>
        </p:nvSpPr>
        <p:spPr bwMode="auto">
          <a:xfrm>
            <a:off x="4015572" y="1595761"/>
            <a:ext cx="2325308" cy="2329748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12" name="Abgerundetes Rechteck 33">
            <a:extLst>
              <a:ext uri="{FF2B5EF4-FFF2-40B4-BE49-F238E27FC236}">
                <a16:creationId xmlns:a16="http://schemas.microsoft.com/office/drawing/2014/main" id="{D560EA2C-F808-285F-AE4F-3C20F7F6B353}"/>
              </a:ext>
            </a:extLst>
          </p:cNvPr>
          <p:cNvSpPr/>
          <p:nvPr/>
        </p:nvSpPr>
        <p:spPr bwMode="auto">
          <a:xfrm>
            <a:off x="6754968" y="1595761"/>
            <a:ext cx="2325308" cy="2329748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370E7093-E208-C8B5-89D1-96804DAF0DD7}"/>
              </a:ext>
            </a:extLst>
          </p:cNvPr>
          <p:cNvSpPr txBox="1"/>
          <p:nvPr/>
        </p:nvSpPr>
        <p:spPr>
          <a:xfrm>
            <a:off x="1499368" y="2680258"/>
            <a:ext cx="2102116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2060"/>
                </a:solidFill>
                <a:latin typeface="+mj-lt"/>
              </a:rPr>
              <a:t>Memory-based</a:t>
            </a:r>
          </a:p>
          <a:p>
            <a:r>
              <a:rPr lang="en-US" sz="1600" b="1">
                <a:solidFill>
                  <a:srgbClr val="002060"/>
                </a:solidFill>
                <a:latin typeface="+mj-lt"/>
              </a:rPr>
              <a:t>Collaborative </a:t>
            </a:r>
          </a:p>
          <a:p>
            <a:pPr>
              <a:spcAft>
                <a:spcPts val="600"/>
              </a:spcAft>
            </a:pPr>
            <a:r>
              <a:rPr lang="en-US" sz="1600" b="1">
                <a:solidFill>
                  <a:srgbClr val="002060"/>
                </a:solidFill>
                <a:latin typeface="+mj-lt"/>
              </a:rPr>
              <a:t>Filtering</a:t>
            </a:r>
          </a:p>
          <a:p>
            <a:r>
              <a:rPr lang="en-US" sz="1600" b="1">
                <a:solidFill>
                  <a:srgbClr val="002060"/>
                </a:solidFill>
                <a:latin typeface="+mj-lt"/>
              </a:rPr>
              <a:t>- Item-based</a:t>
            </a: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F4B51724-426E-9E7F-A5C1-8BD42BDC7E4D}"/>
              </a:ext>
            </a:extLst>
          </p:cNvPr>
          <p:cNvSpPr txBox="1"/>
          <p:nvPr/>
        </p:nvSpPr>
        <p:spPr>
          <a:xfrm>
            <a:off x="6978160" y="2680258"/>
            <a:ext cx="21021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2060"/>
                </a:solidFill>
                <a:latin typeface="+mj-lt"/>
              </a:rPr>
              <a:t>Model-based</a:t>
            </a:r>
          </a:p>
          <a:p>
            <a:r>
              <a:rPr lang="en-US" sz="1600" b="1">
                <a:solidFill>
                  <a:srgbClr val="002060"/>
                </a:solidFill>
                <a:latin typeface="+mj-lt"/>
              </a:rPr>
              <a:t>Collaborative Filtering</a:t>
            </a: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481C2D7A-7C7C-0931-3179-CC8AA4F83891}"/>
              </a:ext>
            </a:extLst>
          </p:cNvPr>
          <p:cNvSpPr txBox="1"/>
          <p:nvPr/>
        </p:nvSpPr>
        <p:spPr>
          <a:xfrm>
            <a:off x="4238764" y="2680258"/>
            <a:ext cx="2102116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2060"/>
                </a:solidFill>
                <a:latin typeface="+mj-lt"/>
              </a:rPr>
              <a:t>Memory-based</a:t>
            </a:r>
          </a:p>
          <a:p>
            <a:r>
              <a:rPr lang="en-US" sz="1600" b="1">
                <a:solidFill>
                  <a:srgbClr val="002060"/>
                </a:solidFill>
                <a:latin typeface="+mj-lt"/>
              </a:rPr>
              <a:t>Collaborative </a:t>
            </a:r>
          </a:p>
          <a:p>
            <a:pPr>
              <a:spcAft>
                <a:spcPts val="600"/>
              </a:spcAft>
            </a:pPr>
            <a:r>
              <a:rPr lang="en-US" sz="1600" b="1">
                <a:solidFill>
                  <a:srgbClr val="002060"/>
                </a:solidFill>
                <a:latin typeface="+mj-lt"/>
              </a:rPr>
              <a:t>Filtering</a:t>
            </a:r>
          </a:p>
          <a:p>
            <a:r>
              <a:rPr lang="en-US" sz="1600" b="1">
                <a:solidFill>
                  <a:srgbClr val="002060"/>
                </a:solidFill>
                <a:latin typeface="+mj-lt"/>
              </a:rPr>
              <a:t>- User-based</a:t>
            </a:r>
          </a:p>
        </p:txBody>
      </p:sp>
      <p:sp>
        <p:nvSpPr>
          <p:cNvPr id="18" name="TextBox 8">
            <a:extLst>
              <a:ext uri="{FF2B5EF4-FFF2-40B4-BE49-F238E27FC236}">
                <a16:creationId xmlns:a16="http://schemas.microsoft.com/office/drawing/2014/main" id="{BDA1A099-B57F-A574-110B-7A1197FDD178}"/>
              </a:ext>
            </a:extLst>
          </p:cNvPr>
          <p:cNvSpPr txBox="1"/>
          <p:nvPr/>
        </p:nvSpPr>
        <p:spPr>
          <a:xfrm>
            <a:off x="1387772" y="5314600"/>
            <a:ext cx="2102116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2060"/>
                </a:solidFill>
                <a:latin typeface="+mj-lt"/>
              </a:rPr>
              <a:t>Content-based </a:t>
            </a:r>
          </a:p>
          <a:p>
            <a:pPr>
              <a:spcAft>
                <a:spcPts val="600"/>
              </a:spcAft>
            </a:pPr>
            <a:r>
              <a:rPr lang="en-US" sz="1600" b="1">
                <a:solidFill>
                  <a:srgbClr val="002060"/>
                </a:solidFill>
                <a:latin typeface="+mj-lt"/>
              </a:rPr>
              <a:t>Filtering</a:t>
            </a:r>
          </a:p>
          <a:p>
            <a:r>
              <a:rPr lang="en-US" sz="1600" b="1">
                <a:solidFill>
                  <a:srgbClr val="002060"/>
                </a:solidFill>
                <a:latin typeface="+mj-lt"/>
              </a:rPr>
              <a:t>- Movie Genre</a:t>
            </a:r>
          </a:p>
        </p:txBody>
      </p:sp>
      <p:sp>
        <p:nvSpPr>
          <p:cNvPr id="20" name="TextBox 8">
            <a:extLst>
              <a:ext uri="{FF2B5EF4-FFF2-40B4-BE49-F238E27FC236}">
                <a16:creationId xmlns:a16="http://schemas.microsoft.com/office/drawing/2014/main" id="{0E55EFFD-0E9C-B41C-E1BA-18E1CF2538A7}"/>
              </a:ext>
            </a:extLst>
          </p:cNvPr>
          <p:cNvSpPr txBox="1"/>
          <p:nvPr/>
        </p:nvSpPr>
        <p:spPr>
          <a:xfrm>
            <a:off x="4238764" y="5314600"/>
            <a:ext cx="2102116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2060"/>
                </a:solidFill>
                <a:latin typeface="+mj-lt"/>
              </a:rPr>
              <a:t>Content-based </a:t>
            </a:r>
          </a:p>
          <a:p>
            <a:pPr>
              <a:spcAft>
                <a:spcPts val="600"/>
              </a:spcAft>
            </a:pPr>
            <a:r>
              <a:rPr lang="en-US" sz="1600" b="1">
                <a:solidFill>
                  <a:srgbClr val="002060"/>
                </a:solidFill>
                <a:latin typeface="+mj-lt"/>
              </a:rPr>
              <a:t>Filtering</a:t>
            </a:r>
          </a:p>
          <a:p>
            <a:r>
              <a:rPr lang="en-US" sz="1600" b="1">
                <a:solidFill>
                  <a:srgbClr val="002060"/>
                </a:solidFill>
                <a:latin typeface="+mj-lt"/>
              </a:rPr>
              <a:t>- Release Year</a:t>
            </a:r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258C4E61-D2F1-EC2C-4961-0785C74D4B70}"/>
              </a:ext>
            </a:extLst>
          </p:cNvPr>
          <p:cNvSpPr txBox="1"/>
          <p:nvPr/>
        </p:nvSpPr>
        <p:spPr>
          <a:xfrm>
            <a:off x="6978160" y="5314600"/>
            <a:ext cx="2102116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2060"/>
                </a:solidFill>
                <a:latin typeface="+mj-lt"/>
              </a:rPr>
              <a:t>Content-based </a:t>
            </a:r>
          </a:p>
          <a:p>
            <a:pPr>
              <a:spcAft>
                <a:spcPts val="600"/>
              </a:spcAft>
            </a:pPr>
            <a:r>
              <a:rPr lang="en-US" sz="1600" b="1">
                <a:solidFill>
                  <a:srgbClr val="002060"/>
                </a:solidFill>
                <a:latin typeface="+mj-lt"/>
              </a:rPr>
              <a:t>Filtering</a:t>
            </a:r>
          </a:p>
          <a:p>
            <a:r>
              <a:rPr lang="en-US" sz="1600" b="1">
                <a:solidFill>
                  <a:srgbClr val="002060"/>
                </a:solidFill>
                <a:latin typeface="+mj-lt"/>
              </a:rPr>
              <a:t>- Tag Relevance</a:t>
            </a:r>
          </a:p>
          <a:p>
            <a:r>
              <a:rPr lang="en-US" sz="1600" b="1">
                <a:solidFill>
                  <a:srgbClr val="002060"/>
                </a:solidFill>
                <a:latin typeface="+mj-lt"/>
              </a:rPr>
              <a:t>   Score</a:t>
            </a:r>
          </a:p>
        </p:txBody>
      </p:sp>
      <p:sp>
        <p:nvSpPr>
          <p:cNvPr id="23" name="Abgerundetes Rechteck 33">
            <a:extLst>
              <a:ext uri="{FF2B5EF4-FFF2-40B4-BE49-F238E27FC236}">
                <a16:creationId xmlns:a16="http://schemas.microsoft.com/office/drawing/2014/main" id="{6EB5F4EA-E541-823D-DC3E-59884C1A9F7C}"/>
              </a:ext>
            </a:extLst>
          </p:cNvPr>
          <p:cNvSpPr/>
          <p:nvPr/>
        </p:nvSpPr>
        <p:spPr bwMode="auto">
          <a:xfrm>
            <a:off x="9958999" y="4194114"/>
            <a:ext cx="2325308" cy="2329748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24" name="Abgerundetes Rechteck 33">
            <a:extLst>
              <a:ext uri="{FF2B5EF4-FFF2-40B4-BE49-F238E27FC236}">
                <a16:creationId xmlns:a16="http://schemas.microsoft.com/office/drawing/2014/main" id="{E8782AA5-C641-A1DE-3F77-A60DE81D1059}"/>
              </a:ext>
            </a:extLst>
          </p:cNvPr>
          <p:cNvSpPr/>
          <p:nvPr/>
        </p:nvSpPr>
        <p:spPr bwMode="auto">
          <a:xfrm>
            <a:off x="9958999" y="1595761"/>
            <a:ext cx="2325308" cy="2329748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  <p:sp>
        <p:nvSpPr>
          <p:cNvPr id="25" name="TextBox 8">
            <a:extLst>
              <a:ext uri="{FF2B5EF4-FFF2-40B4-BE49-F238E27FC236}">
                <a16:creationId xmlns:a16="http://schemas.microsoft.com/office/drawing/2014/main" id="{F775BB59-B348-8654-52C9-4788D45BE603}"/>
              </a:ext>
            </a:extLst>
          </p:cNvPr>
          <p:cNvSpPr txBox="1"/>
          <p:nvPr/>
        </p:nvSpPr>
        <p:spPr>
          <a:xfrm>
            <a:off x="10182191" y="2680258"/>
            <a:ext cx="2102116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2060"/>
                </a:solidFill>
                <a:latin typeface="+mj-lt"/>
              </a:rPr>
              <a:t>Content-based</a:t>
            </a:r>
          </a:p>
          <a:p>
            <a:pPr>
              <a:spcAft>
                <a:spcPts val="600"/>
              </a:spcAft>
            </a:pPr>
            <a:r>
              <a:rPr lang="en-US" sz="1600" b="1">
                <a:solidFill>
                  <a:srgbClr val="002060"/>
                </a:solidFill>
                <a:latin typeface="+mj-lt"/>
              </a:rPr>
              <a:t>Filtering</a:t>
            </a:r>
          </a:p>
          <a:p>
            <a:r>
              <a:rPr lang="en-US" sz="1600" b="1">
                <a:solidFill>
                  <a:srgbClr val="002060"/>
                </a:solidFill>
                <a:latin typeface="+mj-lt"/>
              </a:rPr>
              <a:t>- Directors</a:t>
            </a:r>
          </a:p>
        </p:txBody>
      </p:sp>
      <p:sp>
        <p:nvSpPr>
          <p:cNvPr id="26" name="TextBox 8">
            <a:extLst>
              <a:ext uri="{FF2B5EF4-FFF2-40B4-BE49-F238E27FC236}">
                <a16:creationId xmlns:a16="http://schemas.microsoft.com/office/drawing/2014/main" id="{E7FD1BA9-AEF4-4939-F969-193A354404E1}"/>
              </a:ext>
            </a:extLst>
          </p:cNvPr>
          <p:cNvSpPr txBox="1"/>
          <p:nvPr/>
        </p:nvSpPr>
        <p:spPr>
          <a:xfrm>
            <a:off x="10182191" y="5314600"/>
            <a:ext cx="2102116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2060"/>
                </a:solidFill>
                <a:latin typeface="+mj-lt"/>
              </a:rPr>
              <a:t>Content-based </a:t>
            </a:r>
          </a:p>
          <a:p>
            <a:pPr>
              <a:spcAft>
                <a:spcPts val="600"/>
              </a:spcAft>
            </a:pPr>
            <a:r>
              <a:rPr lang="en-US" sz="1600" b="1">
                <a:solidFill>
                  <a:srgbClr val="002060"/>
                </a:solidFill>
                <a:latin typeface="+mj-lt"/>
              </a:rPr>
              <a:t>Filtering</a:t>
            </a:r>
          </a:p>
          <a:p>
            <a:r>
              <a:rPr lang="en-US" sz="1600" b="1">
                <a:solidFill>
                  <a:srgbClr val="002060"/>
                </a:solidFill>
                <a:latin typeface="+mj-lt"/>
              </a:rPr>
              <a:t>- Main Actors</a:t>
            </a:r>
          </a:p>
        </p:txBody>
      </p:sp>
      <p:pic>
        <p:nvPicPr>
          <p:cNvPr id="4" name="Grafik 3" descr="Ein Bild, das Gebäude, Vektorgrafiken enthält.&#10;&#10;Automatisch generierte Beschreibung">
            <a:extLst>
              <a:ext uri="{FF2B5EF4-FFF2-40B4-BE49-F238E27FC236}">
                <a16:creationId xmlns:a16="http://schemas.microsoft.com/office/drawing/2014/main" id="{D09BC258-959B-3B83-3CE6-B842E86872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996" b="15433"/>
          <a:stretch/>
        </p:blipFill>
        <p:spPr>
          <a:xfrm>
            <a:off x="1934830" y="1827419"/>
            <a:ext cx="1008000" cy="76175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795A32B9-E7C5-B356-BEB1-6E33154C76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42830" y="4397838"/>
            <a:ext cx="792000" cy="792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03CA333-6277-6E37-BFAB-41CC72C6A4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2226" y="1827419"/>
            <a:ext cx="792000" cy="792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27AAF478-F185-2555-30FD-E1E421F795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21622" y="1827419"/>
            <a:ext cx="792000" cy="792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90160E88-D1FD-8B45-EE8D-C907EA87D9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21622" y="4396554"/>
            <a:ext cx="792000" cy="792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D555EB53-91E5-787A-7F63-931C5A5E13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82226" y="4396554"/>
            <a:ext cx="792000" cy="792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88423374-C39C-3BBC-304F-F5E1D217C9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25653" y="1811822"/>
            <a:ext cx="792000" cy="792000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48B530C1-7999-1E5E-CB2F-566DDDAC94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725653" y="4442627"/>
            <a:ext cx="792000" cy="792000"/>
          </a:xfrm>
          <a:prstGeom prst="rect">
            <a:avLst/>
          </a:prstGeom>
        </p:spPr>
      </p:pic>
      <p:sp>
        <p:nvSpPr>
          <p:cNvPr id="46" name="TextBox 8">
            <a:extLst>
              <a:ext uri="{FF2B5EF4-FFF2-40B4-BE49-F238E27FC236}">
                <a16:creationId xmlns:a16="http://schemas.microsoft.com/office/drawing/2014/main" id="{10DEFD2C-9312-40A7-6A94-EA7AF0275855}"/>
              </a:ext>
            </a:extLst>
          </p:cNvPr>
          <p:cNvSpPr txBox="1"/>
          <p:nvPr/>
        </p:nvSpPr>
        <p:spPr>
          <a:xfrm rot="16200000">
            <a:off x="-644711" y="3884666"/>
            <a:ext cx="26299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rgbClr val="002060"/>
                </a:solidFill>
                <a:latin typeface="+mj-lt"/>
              </a:rPr>
              <a:t>Hybrid Recommender</a:t>
            </a:r>
          </a:p>
        </p:txBody>
      </p:sp>
    </p:spTree>
    <p:extLst>
      <p:ext uri="{BB962C8B-B14F-4D97-AF65-F5344CB8AC3E}">
        <p14:creationId xmlns:p14="http://schemas.microsoft.com/office/powerpoint/2010/main" val="22778877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51">
            <a:extLst>
              <a:ext uri="{FF2B5EF4-FFF2-40B4-BE49-F238E27FC236}">
                <a16:creationId xmlns:a16="http://schemas.microsoft.com/office/drawing/2014/main" id="{37A31358-C64D-BA4B-B76C-08DCCEFFF2BF}"/>
              </a:ext>
            </a:extLst>
          </p:cNvPr>
          <p:cNvSpPr txBox="1">
            <a:spLocks/>
          </p:cNvSpPr>
          <p:nvPr/>
        </p:nvSpPr>
        <p:spPr>
          <a:xfrm>
            <a:off x="323850" y="331812"/>
            <a:ext cx="12815888" cy="791513"/>
          </a:xfrm>
          <a:prstGeom prst="rect">
            <a:avLst/>
          </a:prstGeom>
        </p:spPr>
        <p:txBody>
          <a:bodyPr vert="horz" lIns="0" rIns="0" anchor="ctr"/>
          <a:lstStyle>
            <a:lvl1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400" b="1" kern="0" smtClean="0">
                <a:solidFill>
                  <a:schemeClr val="tx1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78439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066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49429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6pPr>
            <a:lvl7pPr marL="898853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7pPr>
            <a:lvl8pPr marL="1348278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8pPr>
            <a:lvl9pPr marL="1797704" algn="l" defTabSz="978439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45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buClr>
                <a:srgbClr val="FF8000"/>
              </a:buClr>
            </a:pPr>
            <a:r>
              <a:rPr lang="en-GB">
                <a:solidFill>
                  <a:srgbClr val="002060"/>
                </a:solidFill>
              </a:rPr>
              <a:t>Parameter Optimisation</a:t>
            </a:r>
            <a:endParaRPr lang="en-GB" sz="3600">
              <a:solidFill>
                <a:srgbClr val="002060"/>
              </a:solidFill>
            </a:endParaRPr>
          </a:p>
        </p:txBody>
      </p:sp>
      <p:sp>
        <p:nvSpPr>
          <p:cNvPr id="28" name="Textplatzhalter 49">
            <a:extLst>
              <a:ext uri="{FF2B5EF4-FFF2-40B4-BE49-F238E27FC236}">
                <a16:creationId xmlns:a16="http://schemas.microsoft.com/office/drawing/2014/main" id="{1707D6E5-FBC2-4348-8CCB-0F1B8C5B4AC0}"/>
              </a:ext>
            </a:extLst>
          </p:cNvPr>
          <p:cNvSpPr txBox="1">
            <a:spLocks/>
          </p:cNvSpPr>
          <p:nvPr/>
        </p:nvSpPr>
        <p:spPr>
          <a:xfrm>
            <a:off x="323849" y="43812"/>
            <a:ext cx="10061121" cy="283618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 defTabSz="978439" rtl="0" eaLnBrk="0" fontAlgn="base" hangingPunct="0"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sz="1600" b="1" baseline="0">
                <a:solidFill>
                  <a:schemeClr val="bg1">
                    <a:lumMod val="65000"/>
                  </a:schemeClr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495668" indent="-247834" algn="l" defTabSz="978439" rtl="0" eaLnBrk="0" fontAlgn="base" hangingPunct="0">
              <a:spcBef>
                <a:spcPts val="295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601882" indent="-212428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376" baseline="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13280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4pPr>
            <a:lvl5pPr marL="789616" indent="0" algn="l" defTabSz="97843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376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5pPr>
            <a:lvl6pPr marL="1983407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6pPr>
            <a:lvl7pPr marL="2432832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7pPr>
            <a:lvl8pPr marL="2882261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8pPr>
            <a:lvl9pPr marL="3331684" indent="-380765" algn="l" defTabSz="978439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kern="0">
                <a:solidFill>
                  <a:srgbClr val="FFFFFF">
                    <a:lumMod val="65000"/>
                  </a:srgbClr>
                </a:solidFill>
              </a:rPr>
              <a:t>DATASET</a:t>
            </a:r>
            <a:endParaRPr lang="de-DE"/>
          </a:p>
        </p:txBody>
      </p:sp>
      <p:sp>
        <p:nvSpPr>
          <p:cNvPr id="17" name="Date Placeholder 5">
            <a:extLst>
              <a:ext uri="{FF2B5EF4-FFF2-40B4-BE49-F238E27FC236}">
                <a16:creationId xmlns:a16="http://schemas.microsoft.com/office/drawing/2014/main" id="{D7C184D3-A201-7C37-FC0C-B3150B8122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9201" y="7168438"/>
            <a:ext cx="4675860" cy="324000"/>
          </a:xfrm>
        </p:spPr>
        <p:txBody>
          <a:bodyPr/>
          <a:lstStyle/>
          <a:p>
            <a:r>
              <a:rPr lang="en-GB"/>
              <a:t> | Group 9 | Final Presentation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DC3AD97-0592-875B-6D98-AB5242596641}"/>
              </a:ext>
            </a:extLst>
          </p:cNvPr>
          <p:cNvCxnSpPr/>
          <p:nvPr/>
        </p:nvCxnSpPr>
        <p:spPr bwMode="auto">
          <a:xfrm>
            <a:off x="-11151" y="1215489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0D19F8C-9B53-EDE3-1E9F-870FAACC4B84}"/>
              </a:ext>
            </a:extLst>
          </p:cNvPr>
          <p:cNvCxnSpPr/>
          <p:nvPr/>
        </p:nvCxnSpPr>
        <p:spPr bwMode="auto">
          <a:xfrm>
            <a:off x="-16287" y="7088464"/>
            <a:ext cx="13464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002060">
                <a:alpha val="50196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0" name="Tabelle 4">
            <a:extLst>
              <a:ext uri="{FF2B5EF4-FFF2-40B4-BE49-F238E27FC236}">
                <a16:creationId xmlns:a16="http://schemas.microsoft.com/office/drawing/2014/main" id="{7757C84D-62B7-23DE-B180-2E2AED36EA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295177"/>
              </p:ext>
            </p:extLst>
          </p:nvPr>
        </p:nvGraphicFramePr>
        <p:xfrm>
          <a:off x="710742" y="1406741"/>
          <a:ext cx="5668903" cy="5491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22985">
                  <a:extLst>
                    <a:ext uri="{9D8B030D-6E8A-4147-A177-3AD203B41FA5}">
                      <a16:colId xmlns:a16="http://schemas.microsoft.com/office/drawing/2014/main" val="1385565855"/>
                    </a:ext>
                  </a:extLst>
                </a:gridCol>
                <a:gridCol w="1967230">
                  <a:extLst>
                    <a:ext uri="{9D8B030D-6E8A-4147-A177-3AD203B41FA5}">
                      <a16:colId xmlns:a16="http://schemas.microsoft.com/office/drawing/2014/main" val="170204870"/>
                    </a:ext>
                  </a:extLst>
                </a:gridCol>
                <a:gridCol w="1089344">
                  <a:extLst>
                    <a:ext uri="{9D8B030D-6E8A-4147-A177-3AD203B41FA5}">
                      <a16:colId xmlns:a16="http://schemas.microsoft.com/office/drawing/2014/main" val="1132283495"/>
                    </a:ext>
                  </a:extLst>
                </a:gridCol>
                <a:gridCol w="1089344">
                  <a:extLst>
                    <a:ext uri="{9D8B030D-6E8A-4147-A177-3AD203B41FA5}">
                      <a16:colId xmlns:a16="http://schemas.microsoft.com/office/drawing/2014/main" val="39150859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Algorith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Paramet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MA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RMS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822407"/>
                  </a:ext>
                </a:extLst>
              </a:tr>
              <a:tr h="370840">
                <a:tc rowSpan="4">
                  <a:txBody>
                    <a:bodyPr/>
                    <a:lstStyle/>
                    <a:p>
                      <a:pPr marL="0" marR="0" lvl="0" indent="0" algn="l" defTabSz="9139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err="1"/>
                        <a:t>KNNBasic</a:t>
                      </a:r>
                      <a:endParaRPr lang="en-GB" sz="16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/>
                        <a:t>k=10, sim=cosine,</a:t>
                      </a:r>
                    </a:p>
                    <a:p>
                      <a:r>
                        <a:rPr lang="en-GB" sz="1600" b="0"/>
                        <a:t>item-base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0.71697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0.94352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843899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/>
                        <a:t>k=20, sim=cosine,</a:t>
                      </a:r>
                    </a:p>
                    <a:p>
                      <a:r>
                        <a:rPr lang="en-GB" sz="1600" b="0"/>
                        <a:t>item-base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97669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19404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0353653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b="0"/>
                        <a:t>k=50, sim=cosine,</a:t>
                      </a:r>
                    </a:p>
                    <a:p>
                      <a:r>
                        <a:rPr lang="en-GB" sz="1600" b="0"/>
                        <a:t>item-base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86921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06579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243924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/>
                        <a:t>k=20, sim=person,</a:t>
                      </a:r>
                    </a:p>
                    <a:p>
                      <a:r>
                        <a:rPr lang="en-GB" sz="1600" b="0"/>
                        <a:t>user-base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84907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81193</a:t>
                      </a:r>
                      <a:endParaRPr lang="en-GB" sz="16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1687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err="1"/>
                        <a:t>KNNWithMeans</a:t>
                      </a:r>
                      <a:endParaRPr lang="en-GB" sz="16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/>
                        <a:t>k=20, sim=cosine,</a:t>
                      </a:r>
                    </a:p>
                    <a:p>
                      <a:r>
                        <a:rPr lang="en-GB" sz="1600" b="0"/>
                        <a:t>item-base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18325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13355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115334"/>
                  </a:ext>
                </a:extLst>
              </a:tr>
              <a:tr h="370840">
                <a:tc rowSpan="4">
                  <a:txBody>
                    <a:bodyPr/>
                    <a:lstStyle/>
                    <a:p>
                      <a:r>
                        <a:rPr lang="en-GB" sz="1600" b="1"/>
                        <a:t>SV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/>
                        <a:t>n=3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68832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46386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429362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/>
                        <a:t>n=5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67891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45352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508909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/>
                        <a:t>n=1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67783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45401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37034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/>
                        <a:t>n=15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68548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4629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238811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GB" sz="1600" b="1"/>
                        <a:t>NMF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/>
                        <a:t>n=1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34066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25956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428728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/>
                        <a:t>n=3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56528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68169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0344573"/>
                  </a:ext>
                </a:extLst>
              </a:tr>
            </a:tbl>
          </a:graphicData>
        </a:graphic>
      </p:graphicFrame>
      <p:graphicFrame>
        <p:nvGraphicFramePr>
          <p:cNvPr id="11" name="Tabelle 4">
            <a:extLst>
              <a:ext uri="{FF2B5EF4-FFF2-40B4-BE49-F238E27FC236}">
                <a16:creationId xmlns:a16="http://schemas.microsoft.com/office/drawing/2014/main" id="{41EE35E9-ABB3-61DD-992F-FEB87A951A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48301"/>
              </p:ext>
            </p:extLst>
          </p:nvPr>
        </p:nvGraphicFramePr>
        <p:xfrm>
          <a:off x="7064682" y="1426745"/>
          <a:ext cx="5426967" cy="48209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33744">
                  <a:extLst>
                    <a:ext uri="{9D8B030D-6E8A-4147-A177-3AD203B41FA5}">
                      <a16:colId xmlns:a16="http://schemas.microsoft.com/office/drawing/2014/main" val="3207827551"/>
                    </a:ext>
                  </a:extLst>
                </a:gridCol>
                <a:gridCol w="922655">
                  <a:extLst>
                    <a:ext uri="{9D8B030D-6E8A-4147-A177-3AD203B41FA5}">
                      <a16:colId xmlns:a16="http://schemas.microsoft.com/office/drawing/2014/main" val="170204870"/>
                    </a:ext>
                  </a:extLst>
                </a:gridCol>
                <a:gridCol w="1235284">
                  <a:extLst>
                    <a:ext uri="{9D8B030D-6E8A-4147-A177-3AD203B41FA5}">
                      <a16:colId xmlns:a16="http://schemas.microsoft.com/office/drawing/2014/main" val="558519622"/>
                    </a:ext>
                  </a:extLst>
                </a:gridCol>
                <a:gridCol w="1235284">
                  <a:extLst>
                    <a:ext uri="{9D8B030D-6E8A-4147-A177-3AD203B41FA5}">
                      <a16:colId xmlns:a16="http://schemas.microsoft.com/office/drawing/2014/main" val="39150859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Recommend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800" b="1" err="1">
                          <a:solidFill>
                            <a:srgbClr val="002060"/>
                          </a:solidFill>
                        </a:rPr>
                        <a:t>top_n</a:t>
                      </a:r>
                      <a:endParaRPr lang="en-GB" sz="1800" b="1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MA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>
                          <a:solidFill>
                            <a:srgbClr val="002060"/>
                          </a:solidFill>
                        </a:rPr>
                        <a:t>RMS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822407"/>
                  </a:ext>
                </a:extLst>
              </a:tr>
              <a:tr h="370840">
                <a:tc rowSpan="6">
                  <a:txBody>
                    <a:bodyPr/>
                    <a:lstStyle/>
                    <a:p>
                      <a:r>
                        <a:rPr lang="en-GB" sz="1600" b="1"/>
                        <a:t>Movie Genr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460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0920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843899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071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0344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0353653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867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0045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399668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742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9862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767013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806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704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462474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788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685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1687005"/>
                  </a:ext>
                </a:extLst>
              </a:tr>
              <a:tr h="370840">
                <a:tc rowSpan="6">
                  <a:txBody>
                    <a:bodyPr/>
                    <a:lstStyle/>
                    <a:p>
                      <a:r>
                        <a:rPr lang="en-GB" sz="1600" b="1"/>
                        <a:t>Tag Relevance Scor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3777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167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38428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4660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119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8792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030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549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45144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261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821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9452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419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012</a:t>
                      </a:r>
                      <a:endParaRPr lang="en-GB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501726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6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513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123</a:t>
                      </a:r>
                      <a:endParaRPr lang="en-GB" sz="16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2114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19989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C65B7F4-6293-DC41-9CFC-245F67E589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C41ADEA-A619-E540-A93F-56AAAB823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E59BC7B-44DD-394F-8CC5-3764DA693F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4D8D99-31A6-CE44-A4D9-5366428C25E9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Rechteck 3">
            <a:extLst>
              <a:ext uri="{FF2B5EF4-FFF2-40B4-BE49-F238E27FC236}">
                <a16:creationId xmlns:a16="http://schemas.microsoft.com/office/drawing/2014/main" id="{1F62F35F-4DBA-1949-821E-08FC4CD7FD7B}"/>
              </a:ext>
            </a:extLst>
          </p:cNvPr>
          <p:cNvSpPr/>
          <p:nvPr/>
        </p:nvSpPr>
        <p:spPr>
          <a:xfrm>
            <a:off x="-794" y="0"/>
            <a:ext cx="13447713" cy="7564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316"/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id="{BE0F0CA0-9F76-424D-B8C8-30D3757557F4}"/>
              </a:ext>
            </a:extLst>
          </p:cNvPr>
          <p:cNvSpPr/>
          <p:nvPr/>
        </p:nvSpPr>
        <p:spPr bwMode="auto">
          <a:xfrm>
            <a:off x="7264479" y="2112426"/>
            <a:ext cx="5614838" cy="897730"/>
          </a:xfrm>
          <a:prstGeom prst="rect">
            <a:avLst/>
          </a:prstGeom>
          <a:solidFill>
            <a:schemeClr val="accent4">
              <a:lumMod val="50000"/>
              <a:alpha val="63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605" tIns="50303" rIns="100605" bIns="503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22296" lvl="1" defTabSz="1039864"/>
            <a:r>
              <a:rPr lang="de-DE" sz="2394" b="1">
                <a:solidFill>
                  <a:srgbClr val="FFFFFF"/>
                </a:solidFill>
                <a:latin typeface="Tahoma"/>
              </a:rPr>
              <a:t>Dataset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49C70B37-0CE0-064F-AE72-7A65C1AE6FAB}"/>
              </a:ext>
            </a:extLst>
          </p:cNvPr>
          <p:cNvSpPr/>
          <p:nvPr/>
        </p:nvSpPr>
        <p:spPr bwMode="auto">
          <a:xfrm>
            <a:off x="7264479" y="3391027"/>
            <a:ext cx="5614838" cy="897730"/>
          </a:xfrm>
          <a:prstGeom prst="rect">
            <a:avLst/>
          </a:prstGeom>
          <a:solidFill>
            <a:schemeClr val="accent4">
              <a:lumMod val="50000"/>
              <a:alpha val="63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605" tIns="50303" rIns="100605" bIns="503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22296" lvl="1" defTabSz="1039864"/>
            <a:r>
              <a:rPr lang="en-GB" sz="2394" b="1">
                <a:solidFill>
                  <a:srgbClr val="FFFFFF"/>
                </a:solidFill>
                <a:latin typeface="Tahoma"/>
              </a:rPr>
              <a:t>Recommendation</a:t>
            </a:r>
            <a:r>
              <a:rPr lang="de-DE" sz="2394" b="1">
                <a:solidFill>
                  <a:srgbClr val="FFFFFF"/>
                </a:solidFill>
                <a:latin typeface="Tahoma"/>
              </a:rPr>
              <a:t> System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8D9CD8C6-4DFD-3E48-863A-3C6A0D0A4E16}"/>
              </a:ext>
            </a:extLst>
          </p:cNvPr>
          <p:cNvSpPr/>
          <p:nvPr/>
        </p:nvSpPr>
        <p:spPr bwMode="auto">
          <a:xfrm>
            <a:off x="7264479" y="4669628"/>
            <a:ext cx="5614838" cy="897730"/>
          </a:xfrm>
          <a:prstGeom prst="rect">
            <a:avLst/>
          </a:prstGeom>
          <a:solidFill>
            <a:schemeClr val="accent4">
              <a:lumMod val="50000"/>
              <a:alpha val="63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605" tIns="50303" rIns="100605" bIns="503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22296" lvl="1" defTabSz="1039864"/>
            <a:r>
              <a:rPr lang="en-GB" sz="2394" b="1">
                <a:solidFill>
                  <a:srgbClr val="FFFFFF"/>
                </a:solidFill>
                <a:latin typeface="Tahoma"/>
              </a:rPr>
              <a:t>Results</a:t>
            </a:r>
          </a:p>
        </p:txBody>
      </p:sp>
      <p:sp>
        <p:nvSpPr>
          <p:cNvPr id="10" name="Textfeld 27">
            <a:extLst>
              <a:ext uri="{FF2B5EF4-FFF2-40B4-BE49-F238E27FC236}">
                <a16:creationId xmlns:a16="http://schemas.microsoft.com/office/drawing/2014/main" id="{7F6FC69D-5570-8C4A-8297-800323F9FA12}"/>
              </a:ext>
            </a:extLst>
          </p:cNvPr>
          <p:cNvSpPr txBox="1"/>
          <p:nvPr/>
        </p:nvSpPr>
        <p:spPr>
          <a:xfrm>
            <a:off x="7264480" y="2130189"/>
            <a:ext cx="532878" cy="862213"/>
          </a:xfrm>
          <a:prstGeom prst="rect">
            <a:avLst/>
          </a:prstGeom>
          <a:noFill/>
        </p:spPr>
        <p:txBody>
          <a:bodyPr wrap="square" lIns="143636" tIns="107663" rIns="0" bIns="107663" rtlCol="0" anchor="ctr">
            <a:spAutoFit/>
          </a:bodyPr>
          <a:lstStyle>
            <a:defPPr>
              <a:defRPr lang="de-DE"/>
            </a:defPPr>
            <a:lvl1pPr defTabSz="91417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  <a:defRPr sz="1800" b="1">
                <a:ea typeface="ＭＳ Ｐゴシック" charset="0"/>
                <a:cs typeface="Tahoma"/>
              </a:defRPr>
            </a:lvl1pPr>
          </a:lstStyle>
          <a:p>
            <a:pPr defTabSz="911839">
              <a:tabLst>
                <a:tab pos="446263" algn="l"/>
                <a:tab pos="536468" algn="l"/>
              </a:tabLst>
            </a:pPr>
            <a:r>
              <a:rPr lang="de-DE" sz="4190">
                <a:solidFill>
                  <a:srgbClr val="FFFFFF"/>
                </a:solidFill>
                <a:latin typeface="Tahoma"/>
              </a:rPr>
              <a:t>1</a:t>
            </a:r>
          </a:p>
        </p:txBody>
      </p:sp>
      <p:sp>
        <p:nvSpPr>
          <p:cNvPr id="11" name="Textfeld 27">
            <a:extLst>
              <a:ext uri="{FF2B5EF4-FFF2-40B4-BE49-F238E27FC236}">
                <a16:creationId xmlns:a16="http://schemas.microsoft.com/office/drawing/2014/main" id="{D23ED5DF-773B-7B4A-9D52-CACCECBF7A3D}"/>
              </a:ext>
            </a:extLst>
          </p:cNvPr>
          <p:cNvSpPr txBox="1"/>
          <p:nvPr/>
        </p:nvSpPr>
        <p:spPr>
          <a:xfrm>
            <a:off x="7264480" y="4687388"/>
            <a:ext cx="532878" cy="862213"/>
          </a:xfrm>
          <a:prstGeom prst="rect">
            <a:avLst/>
          </a:prstGeom>
          <a:noFill/>
        </p:spPr>
        <p:txBody>
          <a:bodyPr wrap="square" lIns="143636" tIns="107663" rIns="0" bIns="107663" rtlCol="0" anchor="ctr">
            <a:spAutoFit/>
          </a:bodyPr>
          <a:lstStyle>
            <a:defPPr>
              <a:defRPr lang="de-DE"/>
            </a:defPPr>
            <a:lvl1pPr defTabSz="91417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  <a:defRPr sz="1800" b="1">
                <a:ea typeface="ＭＳ Ｐゴシック" charset="0"/>
                <a:cs typeface="Tahoma"/>
              </a:defRPr>
            </a:lvl1pPr>
          </a:lstStyle>
          <a:p>
            <a:pPr defTabSz="911839">
              <a:tabLst>
                <a:tab pos="446263" algn="l"/>
                <a:tab pos="536468" algn="l"/>
              </a:tabLst>
            </a:pPr>
            <a:r>
              <a:rPr lang="de-DE" sz="4190">
                <a:solidFill>
                  <a:srgbClr val="FFFFFF"/>
                </a:solidFill>
                <a:latin typeface="Tahoma"/>
              </a:rPr>
              <a:t>3</a:t>
            </a:r>
          </a:p>
        </p:txBody>
      </p:sp>
      <p:sp>
        <p:nvSpPr>
          <p:cNvPr id="12" name="Textfeld 27">
            <a:extLst>
              <a:ext uri="{FF2B5EF4-FFF2-40B4-BE49-F238E27FC236}">
                <a16:creationId xmlns:a16="http://schemas.microsoft.com/office/drawing/2014/main" id="{A71B15A4-657F-354E-ADF2-081300E926EB}"/>
              </a:ext>
            </a:extLst>
          </p:cNvPr>
          <p:cNvSpPr txBox="1"/>
          <p:nvPr/>
        </p:nvSpPr>
        <p:spPr>
          <a:xfrm>
            <a:off x="7264480" y="3408788"/>
            <a:ext cx="532878" cy="862213"/>
          </a:xfrm>
          <a:prstGeom prst="rect">
            <a:avLst/>
          </a:prstGeom>
          <a:noFill/>
        </p:spPr>
        <p:txBody>
          <a:bodyPr wrap="square" lIns="143636" tIns="107663" rIns="0" bIns="107663" rtlCol="0" anchor="ctr">
            <a:spAutoFit/>
          </a:bodyPr>
          <a:lstStyle>
            <a:defPPr>
              <a:defRPr lang="de-DE"/>
            </a:defPPr>
            <a:lvl1pPr defTabSz="91417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  <a:defRPr sz="1800" b="1">
                <a:ea typeface="ＭＳ Ｐゴシック" charset="0"/>
                <a:cs typeface="Tahoma"/>
              </a:defRPr>
            </a:lvl1pPr>
          </a:lstStyle>
          <a:p>
            <a:pPr defTabSz="911839">
              <a:tabLst>
                <a:tab pos="446263" algn="l"/>
                <a:tab pos="536468" algn="l"/>
              </a:tabLst>
            </a:pPr>
            <a:r>
              <a:rPr lang="de-DE" sz="4190">
                <a:solidFill>
                  <a:srgbClr val="FFFFFF"/>
                </a:solidFill>
                <a:latin typeface="Tahoma"/>
              </a:rPr>
              <a:t>2</a:t>
            </a:r>
          </a:p>
        </p:txBody>
      </p:sp>
      <p:sp>
        <p:nvSpPr>
          <p:cNvPr id="13" name="Textfeld 27">
            <a:extLst>
              <a:ext uri="{FF2B5EF4-FFF2-40B4-BE49-F238E27FC236}">
                <a16:creationId xmlns:a16="http://schemas.microsoft.com/office/drawing/2014/main" id="{CE96757E-B696-054F-B67F-2255C34284CB}"/>
              </a:ext>
            </a:extLst>
          </p:cNvPr>
          <p:cNvSpPr txBox="1"/>
          <p:nvPr/>
        </p:nvSpPr>
        <p:spPr>
          <a:xfrm>
            <a:off x="7264480" y="5965991"/>
            <a:ext cx="532878" cy="862213"/>
          </a:xfrm>
          <a:prstGeom prst="rect">
            <a:avLst/>
          </a:prstGeom>
          <a:noFill/>
        </p:spPr>
        <p:txBody>
          <a:bodyPr wrap="square" lIns="143636" tIns="107663" rIns="0" bIns="107663" rtlCol="0" anchor="ctr">
            <a:spAutoFit/>
          </a:bodyPr>
          <a:lstStyle>
            <a:defPPr>
              <a:defRPr lang="de-DE"/>
            </a:defPPr>
            <a:lvl1pPr defTabSz="91417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  <a:defRPr sz="1800" b="1">
                <a:ea typeface="ＭＳ Ｐゴシック" charset="0"/>
                <a:cs typeface="Tahoma"/>
              </a:defRPr>
            </a:lvl1pPr>
          </a:lstStyle>
          <a:p>
            <a:pPr defTabSz="911839">
              <a:tabLst>
                <a:tab pos="446263" algn="l"/>
                <a:tab pos="536468" algn="l"/>
              </a:tabLst>
            </a:pPr>
            <a:r>
              <a:rPr lang="de-DE" sz="4190">
                <a:solidFill>
                  <a:srgbClr val="FFFFFF"/>
                </a:solidFill>
                <a:latin typeface="Tahoma"/>
              </a:rPr>
              <a:t>4</a:t>
            </a:r>
          </a:p>
        </p:txBody>
      </p:sp>
      <p:sp>
        <p:nvSpPr>
          <p:cNvPr id="14" name="Titel 5">
            <a:extLst>
              <a:ext uri="{FF2B5EF4-FFF2-40B4-BE49-F238E27FC236}">
                <a16:creationId xmlns:a16="http://schemas.microsoft.com/office/drawing/2014/main" id="{650921DC-8B6D-8546-AE9B-2A13BF42CB29}"/>
              </a:ext>
            </a:extLst>
          </p:cNvPr>
          <p:cNvSpPr txBox="1">
            <a:spLocks/>
          </p:cNvSpPr>
          <p:nvPr/>
        </p:nvSpPr>
        <p:spPr>
          <a:xfrm>
            <a:off x="7264479" y="1151760"/>
            <a:ext cx="10276926" cy="646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39499" rIns="0" bIns="0" numCol="1" anchor="b" anchorCtr="0" compatLnSpc="1">
            <a:prstTxWarp prst="textNoShape">
              <a:avLst/>
            </a:prstTxWarp>
          </a:bodyPr>
          <a:lstStyle>
            <a:lvl1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1900" b="1" kern="0" smtClean="0">
                <a:solidFill>
                  <a:schemeClr val="accent5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92348">
              <a:buClr>
                <a:srgbClr val="B1FEEB"/>
              </a:buClr>
            </a:pPr>
            <a:r>
              <a:rPr lang="de-DE" sz="3524" kern="1200">
                <a:solidFill>
                  <a:srgbClr val="002060"/>
                </a:solidFill>
                <a:latin typeface="+mj-lt"/>
                <a:ea typeface="+mn-ea"/>
              </a:rPr>
              <a:t>Agenda</a:t>
            </a: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5DA2E3D7-8ACA-034E-9E86-4ED14601D39E}"/>
              </a:ext>
            </a:extLst>
          </p:cNvPr>
          <p:cNvSpPr/>
          <p:nvPr/>
        </p:nvSpPr>
        <p:spPr>
          <a:xfrm>
            <a:off x="6845354" y="1902277"/>
            <a:ext cx="6317516" cy="2502455"/>
          </a:xfrm>
          <a:prstGeom prst="rect">
            <a:avLst/>
          </a:prstGeom>
          <a:solidFill>
            <a:schemeClr val="bg1">
              <a:alpha val="5016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83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AFA52096-1D76-1B29-370D-DA042CB36F7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5" r="41171"/>
          <a:stretch/>
        </p:blipFill>
        <p:spPr>
          <a:xfrm>
            <a:off x="-17848" y="0"/>
            <a:ext cx="6611528" cy="7564437"/>
          </a:xfrm>
          <a:prstGeom prst="rect">
            <a:avLst/>
          </a:prstGeom>
        </p:spPr>
      </p:pic>
      <p:sp>
        <p:nvSpPr>
          <p:cNvPr id="16" name="Rechteck 3">
            <a:extLst>
              <a:ext uri="{FF2B5EF4-FFF2-40B4-BE49-F238E27FC236}">
                <a16:creationId xmlns:a16="http://schemas.microsoft.com/office/drawing/2014/main" id="{E45D7BDC-13FF-2747-AC92-30AA33E05B3B}"/>
              </a:ext>
            </a:extLst>
          </p:cNvPr>
          <p:cNvSpPr/>
          <p:nvPr/>
        </p:nvSpPr>
        <p:spPr>
          <a:xfrm>
            <a:off x="-17848" y="-1"/>
            <a:ext cx="6643903" cy="756443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59" tIns="50430" rIns="100859" bIns="50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316"/>
          </a:p>
        </p:txBody>
      </p:sp>
    </p:spTree>
    <p:extLst>
      <p:ext uri="{BB962C8B-B14F-4D97-AF65-F5344CB8AC3E}">
        <p14:creationId xmlns:p14="http://schemas.microsoft.com/office/powerpoint/2010/main" val="19795188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3&quot;&gt;&lt;elem m_fUsage=&quot;3.08754100000000031301E+00&quot;&gt;&lt;m_msothmcolidx val=&quot;0&quot;/&gt;&lt;m_rgb r=&quot;D1&quot; g=&quot;E8&quot; b=&quot;FF&quot;/&gt;&lt;m_nBrightness tagver0=&quot;26206&quot; tagname0=&quot;m_nBrightnessUNRECOGNIZED&quot; val=&quot;0&quot;/&gt;&lt;/elem&gt;&lt;elem m_fUsage=&quot;2.98013732735009329033E+00&quot;&gt;&lt;m_msothmcolidx val=&quot;0&quot;/&gt;&lt;m_rgb r=&quot;1A&quot; g=&quot;8C&quot; b=&quot;FF&quot;/&gt;&lt;m_nBrightness tagver0=&quot;26206&quot; tagname0=&quot;m_nBrightnessUNRECOGNIZED&quot; val=&quot;0&quot;/&gt;&lt;/elem&gt;&lt;elem m_fUsage=&quot;1.22406994343479436083E+00&quot;&gt;&lt;m_msothmcolidx val=&quot;0&quot;/&gt;&lt;m_rgb r=&quot;40&quot; g=&quot;B8&quot; b=&quot;FF&quot;/&gt;&lt;m_nBrightness tagver0=&quot;26206&quot; tagname0=&quot;m_nBrightnessUNRECOGNIZED&quot; val=&quot;0&quot;/&gt;&lt;/elem&gt;&lt;elem m_fUsage=&quot;8.36999108675649194922E-01&quot;&gt;&lt;m_msothmcolidx val=&quot;0&quot;/&gt;&lt;m_rgb r=&quot;DF&quot; g=&quot;DF&quot; b=&quot;DF&quot;/&gt;&lt;m_nBrightness tagver0=&quot;26206&quot; tagname0=&quot;m_nBrightnessUNRECOGNIZED&quot; val=&quot;0&quot;/&gt;&lt;/elem&gt;&lt;elem m_fUsage=&quot;8.25047874750339693684E-01&quot;&gt;&lt;m_msothmcolidx val=&quot;0&quot;/&gt;&lt;m_rgb r=&quot;37&quot; g=&quot;60&quot; b=&quot;92&quot;/&gt;&lt;m_nBrightness tagver0=&quot;26206&quot; tagname0=&quot;m_nBrightnessUNRECOGNIZED&quot; val=&quot;0&quot;/&gt;&lt;/elem&gt;&lt;elem m_fUsage=&quot;5.90490000000000181402E-01&quot;&gt;&lt;m_msothmcolidx val=&quot;0&quot;/&gt;&lt;m_rgb r=&quot;EC&quot; g=&quot;F5&quot; b=&quot;FF&quot;/&gt;&lt;m_nBrightness tagver0=&quot;26206&quot; tagname0=&quot;m_nBrightnessUNRECOGNIZED&quot; val=&quot;0&quot;/&gt;&lt;/elem&gt;&lt;elem m_fUsage=&quot;2.50806305273478025164E-01&quot;&gt;&lt;m_msothmcolidx val=&quot;0&quot;/&gt;&lt;m_rgb r=&quot;9A&quot; g=&quot;BC&quot; b=&quot;E4&quot;/&gt;&lt;m_nBrightness tagver0=&quot;26206&quot; tagname0=&quot;m_nBrightnessUNRECOGNIZED&quot; val=&quot;0&quot;/&gt;&lt;/elem&gt;&lt;elem m_fUsage=&quot;1.14880038925836008845E-01&quot;&gt;&lt;m_msothmcolidx val=&quot;0&quot;/&gt;&lt;m_rgb r=&quot;FF&quot; g=&quot;00&quot; b=&quot;00&quot;/&gt;&lt;m_nBrightness tagver0=&quot;26206&quot; tagname0=&quot;m_nBrightnessUNRECOGNIZED&quot; val=&quot;0&quot;/&gt;&lt;/elem&gt;&lt;elem m_fUsage=&quot;4.84560588917868489967E-02&quot;&gt;&lt;m_msothmcolidx val=&quot;0&quot;/&gt;&lt;m_rgb r=&quot;00&quot; g=&quot;B0&quot; b=&quot;50&quot;/&gt;&lt;m_nBrightness tagver0=&quot;26206&quot; tagname0=&quot;m_nBrightnessUNRECOGNIZED&quot; val=&quot;0&quot;/&gt;&lt;/elem&gt;&lt;elem m_fUsage=&quot;1.64232032682606748919E-02&quot;&gt;&lt;m_msothmcolidx val=&quot;0&quot;/&gt;&lt;m_rgb r=&quot;1C&quot; g=&quot;AD&quot; b=&quot;DD&quot;/&gt;&lt;m_nBrightness tagver0=&quot;26206&quot; tagname0=&quot;m_nBrightnessUNRECOGNIZED&quot; val=&quot;0&quot;/&gt;&lt;/elem&gt;&lt;elem m_fUsage=&quot;1.21574345864626544300E-02&quot;&gt;&lt;m_msothmcolidx val=&quot;0&quot;/&gt;&lt;m_rgb r=&quot;FF&quot; g=&quot;80&quot; b=&quot;00&quot;/&gt;&lt;m_nBrightness tagver0=&quot;26206&quot; tagname0=&quot;m_nBrightnessUNRECOGNIZED&quot; val=&quot;0&quot;/&gt;&lt;/elem&gt;&lt;elem m_fUsage=&quot;5.07471380119544658582E-03&quot;&gt;&lt;m_msothmcolidx val=&quot;0&quot;/&gt;&lt;m_rgb r=&quot;C0&quot; g=&quot;00&quot; b=&quot;00&quot;/&gt;&lt;m_nBrightness tagver0=&quot;26206&quot; tagname0=&quot;m_nBrightnessUNRECOGNIZED&quot; val=&quot;0&quot;/&gt;&lt;/elem&gt;&lt;elem m_fUsage=&quot;9.55004950796826544875E-04&quot;&gt;&lt;m_msothmcolidx val=&quot;0&quot;/&gt;&lt;m_rgb r=&quot;00&quot; g=&quot;5C&quot; b=&quot;85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9245cb48-36f6-4855-a0c3-19564cc8b6bc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INTEGRA_PowerPoint-Vorlage">
  <a:themeElements>
    <a:clrScheme name="Custom 4">
      <a:dk1>
        <a:srgbClr val="000000"/>
      </a:dk1>
      <a:lt1>
        <a:srgbClr val="FFFFFF"/>
      </a:lt1>
      <a:dk2>
        <a:srgbClr val="646464"/>
      </a:dk2>
      <a:lt2>
        <a:srgbClr val="404040"/>
      </a:lt2>
      <a:accent1>
        <a:srgbClr val="0A3191"/>
      </a:accent1>
      <a:accent2>
        <a:srgbClr val="4476F2"/>
      </a:accent2>
      <a:accent3>
        <a:srgbClr val="198CFF"/>
      </a:accent3>
      <a:accent4>
        <a:srgbClr val="0A3191"/>
      </a:accent4>
      <a:accent5>
        <a:srgbClr val="646464"/>
      </a:accent5>
      <a:accent6>
        <a:srgbClr val="0A3191"/>
      </a:accent6>
      <a:hlink>
        <a:srgbClr val="7F7F7F"/>
      </a:hlink>
      <a:folHlink>
        <a:srgbClr val="C3C3C3"/>
      </a:folHlink>
    </a:clrScheme>
    <a:fontScheme name="Custom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04400" tIns="52516" rIns="102663" bIns="52516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folHlink"/>
          </a:buClr>
          <a:buSzPct val="75000"/>
          <a:buFont typeface="Arial" charset="0"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04400" tIns="52516" rIns="102663" bIns="52516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folHlink"/>
          </a:buClr>
          <a:buSzPct val="75000"/>
          <a:buFont typeface="Arial" charset="0"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/>
      <a:bodyPr/>
      <a:lstStyle>
        <a:defPPr marL="0" indent="0">
          <a:buNone/>
          <a:defRPr kern="0" dirty="0" smtClean="0"/>
        </a:defPPr>
      </a:lstStyle>
    </a:txDef>
  </a:objectDefaults>
  <a:extraClrSchemeLst>
    <a:extraClrScheme>
      <a:clrScheme name="EY_PowerPoint-Vorlage 1">
        <a:dk1>
          <a:srgbClr val="000000"/>
        </a:dk1>
        <a:lt1>
          <a:srgbClr val="FFFFFF"/>
        </a:lt1>
        <a:dk2>
          <a:srgbClr val="646464"/>
        </a:dk2>
        <a:lt2>
          <a:srgbClr val="333333"/>
        </a:lt2>
        <a:accent1>
          <a:srgbClr val="808080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8A"/>
        </a:accent6>
        <a:hlink>
          <a:srgbClr val="C0C0C0"/>
        </a:hlink>
        <a:folHlink>
          <a:srgbClr val="FFD2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INTEGRA_PowerPoint-Vorlage">
  <a:themeElements>
    <a:clrScheme name="Custom 3">
      <a:dk1>
        <a:srgbClr val="000000"/>
      </a:dk1>
      <a:lt1>
        <a:srgbClr val="FFFFFF"/>
      </a:lt1>
      <a:dk2>
        <a:srgbClr val="646464"/>
      </a:dk2>
      <a:lt2>
        <a:srgbClr val="404040"/>
      </a:lt2>
      <a:accent1>
        <a:srgbClr val="0A3191"/>
      </a:accent1>
      <a:accent2>
        <a:srgbClr val="4476F2"/>
      </a:accent2>
      <a:accent3>
        <a:srgbClr val="198CFF"/>
      </a:accent3>
      <a:accent4>
        <a:srgbClr val="4FD8FD"/>
      </a:accent4>
      <a:accent5>
        <a:srgbClr val="0A3191"/>
      </a:accent5>
      <a:accent6>
        <a:srgbClr val="0A3191"/>
      </a:accent6>
      <a:hlink>
        <a:srgbClr val="D9D9D9"/>
      </a:hlink>
      <a:folHlink>
        <a:srgbClr val="198CFF"/>
      </a:folHlink>
    </a:clrScheme>
    <a:fontScheme name="Custom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04400" tIns="52516" rIns="102663" bIns="52516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folHlink"/>
          </a:buClr>
          <a:buSzPct val="75000"/>
          <a:buFont typeface="Arial" charset="0"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04400" tIns="52516" rIns="102663" bIns="52516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folHlink"/>
          </a:buClr>
          <a:buSzPct val="75000"/>
          <a:buFont typeface="Arial" charset="0"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/>
      <a:bodyPr/>
      <a:lstStyle>
        <a:defPPr marL="0" indent="0">
          <a:buNone/>
          <a:defRPr kern="0" dirty="0" smtClean="0"/>
        </a:defPPr>
      </a:lstStyle>
    </a:txDef>
  </a:objectDefaults>
  <a:extraClrSchemeLst>
    <a:extraClrScheme>
      <a:clrScheme name="EY_PowerPoint-Vorlage 1">
        <a:dk1>
          <a:srgbClr val="000000"/>
        </a:dk1>
        <a:lt1>
          <a:srgbClr val="FFFFFF"/>
        </a:lt1>
        <a:dk2>
          <a:srgbClr val="646464"/>
        </a:dk2>
        <a:lt2>
          <a:srgbClr val="333333"/>
        </a:lt2>
        <a:accent1>
          <a:srgbClr val="808080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8A"/>
        </a:accent6>
        <a:hlink>
          <a:srgbClr val="C0C0C0"/>
        </a:hlink>
        <a:folHlink>
          <a:srgbClr val="FFD2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INTEGRA_PowerPoint-Vorlage">
  <a:themeElements>
    <a:clrScheme name="Custom 3">
      <a:dk1>
        <a:srgbClr val="000000"/>
      </a:dk1>
      <a:lt1>
        <a:srgbClr val="FFFFFF"/>
      </a:lt1>
      <a:dk2>
        <a:srgbClr val="646464"/>
      </a:dk2>
      <a:lt2>
        <a:srgbClr val="404040"/>
      </a:lt2>
      <a:accent1>
        <a:srgbClr val="0A3191"/>
      </a:accent1>
      <a:accent2>
        <a:srgbClr val="4476F2"/>
      </a:accent2>
      <a:accent3>
        <a:srgbClr val="198CFF"/>
      </a:accent3>
      <a:accent4>
        <a:srgbClr val="4FD8FD"/>
      </a:accent4>
      <a:accent5>
        <a:srgbClr val="0A3191"/>
      </a:accent5>
      <a:accent6>
        <a:srgbClr val="0A3191"/>
      </a:accent6>
      <a:hlink>
        <a:srgbClr val="D9D9D9"/>
      </a:hlink>
      <a:folHlink>
        <a:srgbClr val="198CFF"/>
      </a:folHlink>
    </a:clrScheme>
    <a:fontScheme name="Custom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04400" tIns="52516" rIns="102663" bIns="52516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folHlink"/>
          </a:buClr>
          <a:buSzPct val="75000"/>
          <a:buFont typeface="Arial" charset="0"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04400" tIns="52516" rIns="102663" bIns="52516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folHlink"/>
          </a:buClr>
          <a:buSzPct val="75000"/>
          <a:buFont typeface="Arial" charset="0"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/>
      <a:bodyPr/>
      <a:lstStyle>
        <a:defPPr marL="0" indent="0">
          <a:buNone/>
          <a:defRPr kern="0" dirty="0" smtClean="0"/>
        </a:defPPr>
      </a:lstStyle>
    </a:txDef>
  </a:objectDefaults>
  <a:extraClrSchemeLst>
    <a:extraClrScheme>
      <a:clrScheme name="EY_PowerPoint-Vorlage 1">
        <a:dk1>
          <a:srgbClr val="000000"/>
        </a:dk1>
        <a:lt1>
          <a:srgbClr val="FFFFFF"/>
        </a:lt1>
        <a:dk2>
          <a:srgbClr val="646464"/>
        </a:dk2>
        <a:lt2>
          <a:srgbClr val="333333"/>
        </a:lt2>
        <a:accent1>
          <a:srgbClr val="808080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8A"/>
        </a:accent6>
        <a:hlink>
          <a:srgbClr val="C0C0C0"/>
        </a:hlink>
        <a:folHlink>
          <a:srgbClr val="FFD2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INTEGRA_PowerPoint-Vorlage">
  <a:themeElements>
    <a:clrScheme name="Custom 3">
      <a:dk1>
        <a:srgbClr val="000000"/>
      </a:dk1>
      <a:lt1>
        <a:srgbClr val="FFFFFF"/>
      </a:lt1>
      <a:dk2>
        <a:srgbClr val="646464"/>
      </a:dk2>
      <a:lt2>
        <a:srgbClr val="404040"/>
      </a:lt2>
      <a:accent1>
        <a:srgbClr val="0A3191"/>
      </a:accent1>
      <a:accent2>
        <a:srgbClr val="4476F2"/>
      </a:accent2>
      <a:accent3>
        <a:srgbClr val="198CFF"/>
      </a:accent3>
      <a:accent4>
        <a:srgbClr val="4FD8FD"/>
      </a:accent4>
      <a:accent5>
        <a:srgbClr val="0A3191"/>
      </a:accent5>
      <a:accent6>
        <a:srgbClr val="0A3191"/>
      </a:accent6>
      <a:hlink>
        <a:srgbClr val="D9D9D9"/>
      </a:hlink>
      <a:folHlink>
        <a:srgbClr val="198CFF"/>
      </a:folHlink>
    </a:clrScheme>
    <a:fontScheme name="Custom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04400" tIns="52516" rIns="102663" bIns="52516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folHlink"/>
          </a:buClr>
          <a:buSzPct val="75000"/>
          <a:buFont typeface="Arial" charset="0"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04400" tIns="52516" rIns="102663" bIns="52516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folHlink"/>
          </a:buClr>
          <a:buSzPct val="75000"/>
          <a:buFont typeface="Arial" charset="0"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/>
      <a:bodyPr/>
      <a:lstStyle>
        <a:defPPr marL="0" indent="0">
          <a:buNone/>
          <a:defRPr kern="0" dirty="0" smtClean="0"/>
        </a:defPPr>
      </a:lstStyle>
    </a:txDef>
  </a:objectDefaults>
  <a:extraClrSchemeLst>
    <a:extraClrScheme>
      <a:clrScheme name="EY_PowerPoint-Vorlage 1">
        <a:dk1>
          <a:srgbClr val="000000"/>
        </a:dk1>
        <a:lt1>
          <a:srgbClr val="FFFFFF"/>
        </a:lt1>
        <a:dk2>
          <a:srgbClr val="646464"/>
        </a:dk2>
        <a:lt2>
          <a:srgbClr val="333333"/>
        </a:lt2>
        <a:accent1>
          <a:srgbClr val="808080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8A"/>
        </a:accent6>
        <a:hlink>
          <a:srgbClr val="C0C0C0"/>
        </a:hlink>
        <a:folHlink>
          <a:srgbClr val="FFD2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AF9812085BAF64B9E2E3221CBD7DA15" ma:contentTypeVersion="2" ma:contentTypeDescription="Ein neues Dokument erstellen." ma:contentTypeScope="" ma:versionID="a587909e162975893ee42736535ab331">
  <xsd:schema xmlns:xsd="http://www.w3.org/2001/XMLSchema" xmlns:xs="http://www.w3.org/2001/XMLSchema" xmlns:p="http://schemas.microsoft.com/office/2006/metadata/properties" xmlns:ns2="5640ca95-bd06-409f-9c95-1bceef30c2b2" targetNamespace="http://schemas.microsoft.com/office/2006/metadata/properties" ma:root="true" ma:fieldsID="68e8557272ec34b92d509b48206bdf4e" ns2:_="">
    <xsd:import namespace="5640ca95-bd06-409f-9c95-1bceef30c2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40ca95-bd06-409f-9c95-1bceef30c2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DB5E321-4E46-41AA-AD8E-1BD3B43A5CF8}">
  <ds:schemaRefs>
    <ds:schemaRef ds:uri="5640ca95-bd06-409f-9c95-1bceef30c2b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3E661D7-CE94-4E8D-B582-02D5510DBE4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60FC16-3797-40A5-8215-7112907C8E03}">
  <ds:schemaRefs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Custom</PresentationFormat>
  <Slides>13</Slides>
  <Notes>8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6_INTEGRA_PowerPoint-Vorlage</vt:lpstr>
      <vt:lpstr>3_INTEGRA_PowerPoint-Vorlage</vt:lpstr>
      <vt:lpstr>4_INTEGRA_PowerPoint-Vorlage</vt:lpstr>
      <vt:lpstr>5_INTEGRA_PowerPoint-Vorlag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ximilian Claessens</dc:creator>
  <cp:revision>1</cp:revision>
  <dcterms:modified xsi:type="dcterms:W3CDTF">2022-05-30T12:5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F9812085BAF64B9E2E3221CBD7DA15</vt:lpwstr>
  </property>
</Properties>
</file>